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477" r:id="rId4"/>
  </p:sldMasterIdLst>
  <p:notesMasterIdLst>
    <p:notesMasterId r:id="rId29"/>
  </p:notesMasterIdLst>
  <p:handoutMasterIdLst>
    <p:handoutMasterId r:id="rId30"/>
  </p:handoutMasterIdLst>
  <p:sldIdLst>
    <p:sldId id="495" r:id="rId5"/>
    <p:sldId id="269" r:id="rId6"/>
    <p:sldId id="277" r:id="rId7"/>
    <p:sldId id="1983" r:id="rId8"/>
    <p:sldId id="1994" r:id="rId9"/>
    <p:sldId id="2008" r:id="rId10"/>
    <p:sldId id="280" r:id="rId11"/>
    <p:sldId id="281" r:id="rId12"/>
    <p:sldId id="2011" r:id="rId13"/>
    <p:sldId id="2000" r:id="rId14"/>
    <p:sldId id="1996" r:id="rId15"/>
    <p:sldId id="1998" r:id="rId16"/>
    <p:sldId id="1997" r:id="rId17"/>
    <p:sldId id="2010" r:id="rId18"/>
    <p:sldId id="1999" r:id="rId19"/>
    <p:sldId id="2001" r:id="rId20"/>
    <p:sldId id="2005" r:id="rId21"/>
    <p:sldId id="2006" r:id="rId22"/>
    <p:sldId id="2003" r:id="rId23"/>
    <p:sldId id="273" r:id="rId24"/>
    <p:sldId id="272" r:id="rId25"/>
    <p:sldId id="2013" r:id="rId26"/>
    <p:sldId id="2012" r:id="rId27"/>
    <p:sldId id="496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mple" id="{FD3DCCE1-4FC1-4C57-BF51-9F55AAF3629A}">
          <p14:sldIdLst>
            <p14:sldId id="495"/>
            <p14:sldId id="269"/>
            <p14:sldId id="277"/>
            <p14:sldId id="1983"/>
            <p14:sldId id="1994"/>
            <p14:sldId id="2008"/>
            <p14:sldId id="280"/>
            <p14:sldId id="281"/>
            <p14:sldId id="2011"/>
            <p14:sldId id="2000"/>
            <p14:sldId id="1996"/>
            <p14:sldId id="1998"/>
            <p14:sldId id="1997"/>
            <p14:sldId id="2010"/>
            <p14:sldId id="1999"/>
            <p14:sldId id="2001"/>
            <p14:sldId id="2005"/>
            <p14:sldId id="2006"/>
            <p14:sldId id="2003"/>
            <p14:sldId id="273"/>
            <p14:sldId id="272"/>
            <p14:sldId id="2013"/>
            <p14:sldId id="2012"/>
            <p14:sldId id="496"/>
          </p14:sldIdLst>
        </p14:section>
      </p14:sectionLst>
    </p:ext>
    <p:ext uri="{EFAFB233-063F-42B5-8137-9DF3F51BA10A}">
      <p15:sldGuideLst xmlns:p15="http://schemas.microsoft.com/office/powerpoint/2012/main">
        <p15:guide id="19" orient="horz">
          <p15:clr>
            <a:srgbClr val="A4A3A4"/>
          </p15:clr>
        </p15:guide>
        <p15:guide id="20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A00"/>
    <a:srgbClr val="EB8232"/>
    <a:srgbClr val="F0A164"/>
    <a:srgbClr val="414241"/>
    <a:srgbClr val="E6E6E6"/>
    <a:srgbClr val="FFFFFF"/>
    <a:srgbClr val="B4009E"/>
    <a:srgbClr val="0478D7"/>
    <a:srgbClr val="0359A0"/>
    <a:srgbClr val="95C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8EA51A-4316-4428-9A0E-AF3EE9998BBB}" v="2" dt="2019-12-18T11:27:52.8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orient="horz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5DDD7-29E8-4F85-A117-E0D0E07135BD}" type="datetimeFigureOut">
              <a:rPr lang="en-US" smtClean="0"/>
              <a:t>12/18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458E4C-A571-4498-B61D-3EBCC782E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34B426-DD78-45C6-AC2B-6AECC245F0A6}" type="datetimeFigureOut">
              <a:rPr lang="en-US" smtClean="0"/>
              <a:t>12/18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493308-1CCD-4083-9427-1DD59259FB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bot-service/bot-builder-tutorial-dispatch?view=azure-bot-service-4.0&amp;tabs=cs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bot-service/bot-builder-virtual-assistant-introduction?view=azure-bot-service-4.0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493308-1CCD-4083-9427-1DD59259FBE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46198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89990A-BE12-4A95-B1FA-ADF3DD10D48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7823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6C6D7-DD2E-2F42-BD43-AD5BA227E1F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0675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3CB5B1-3D40-4389-814A-A3E0AEC8E2FF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8/19 12: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0A3098-74CE-4AF5-9C5C-C2A7A2AE65A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E0F78483-C1B0-470C-ACDF-3FFAE031C6ED}"/>
              </a:ext>
            </a:extLst>
          </p:cNvPr>
          <p:cNvSpPr>
            <a:spLocks noGrp="1"/>
          </p:cNvSpPr>
          <p:nvPr>
            <p:ph type="hdr" sz="quarter" idx="15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47056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643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957724-74D0-4AAB-8366-EF91C6CD08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64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8129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93308-1CCD-4083-9427-1DD59259FBE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0589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ow to dispatch information to different services : </a:t>
            </a:r>
            <a:r>
              <a:rPr lang="en-US">
                <a:hlinkClick r:id="rId3"/>
              </a:rPr>
              <a:t>https://docs.microsoft.com/en-us/azure/bot-service/bot-builder-tutorial-dispatch?view=azure-bot-service-4.0&amp;tabs=cs</a:t>
            </a:r>
            <a:r>
              <a:rPr lang="en-US"/>
              <a:t> </a:t>
            </a:r>
          </a:p>
          <a:p>
            <a:r>
              <a:rPr lang="en-US"/>
              <a:t>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89990A-BE12-4A95-B1FA-ADF3DD10D48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161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89990A-BE12-4A95-B1FA-ADF3DD10D48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7082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8B2124-C3E8-4749-989B-A457FFAE6AED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8/19 12: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Header Placeholder 11"/>
          <p:cNvSpPr>
            <a:spLocks noGrp="1"/>
          </p:cNvSpPr>
          <p:nvPr>
            <p:ph type="hd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E5C2D0-8775-4D7F-B160-08109779CF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r</a:t>
            </a:r>
          </a:p>
        </p:txBody>
      </p:sp>
    </p:spTree>
    <p:extLst>
      <p:ext uri="{BB962C8B-B14F-4D97-AF65-F5344CB8AC3E}">
        <p14:creationId xmlns:p14="http://schemas.microsoft.com/office/powerpoint/2010/main" val="5432040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8B2124-C3E8-4749-989B-A457FFAE6AED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8/19 12: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Header Placeholder 11"/>
          <p:cNvSpPr>
            <a:spLocks noGrp="1"/>
          </p:cNvSpPr>
          <p:nvPr>
            <p:ph type="hd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5A06F1-54D8-459F-94BD-CF7D49DBF4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r</a:t>
            </a:r>
          </a:p>
        </p:txBody>
      </p:sp>
    </p:spTree>
    <p:extLst>
      <p:ext uri="{BB962C8B-B14F-4D97-AF65-F5344CB8AC3E}">
        <p14:creationId xmlns:p14="http://schemas.microsoft.com/office/powerpoint/2010/main" val="1273418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8/19 12: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FE7CDA-29EB-44B9-A5D9-E157FA41D2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r</a:t>
            </a:r>
          </a:p>
        </p:txBody>
      </p:sp>
    </p:spTree>
    <p:extLst>
      <p:ext uri="{BB962C8B-B14F-4D97-AF65-F5344CB8AC3E}">
        <p14:creationId xmlns:p14="http://schemas.microsoft.com/office/powerpoint/2010/main" val="3043593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93308-1CCD-4083-9427-1DD59259FBE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4316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ow to build a virtual assistant : </a:t>
            </a:r>
            <a:r>
              <a:rPr lang="en-US">
                <a:hlinkClick r:id="rId3"/>
              </a:rPr>
              <a:t>https://docs.microsoft.com/en-us/azure/bot-service/bot-builder-virtual-assistant-introduction?view=azure-bot-service-4.0</a:t>
            </a:r>
            <a:endParaRPr lang="en-US"/>
          </a:p>
          <a:p>
            <a:r>
              <a:rPr lang="en-US"/>
              <a:t>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89990A-BE12-4A95-B1FA-ADF3DD10D48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4121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93308-1CCD-4083-9427-1DD59259FBE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25759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493308-1CCD-4083-9427-1DD59259FBE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857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93308-1CCD-4083-9427-1DD59259FBE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3182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D544EF-4262-49E5-9B25-38548E4C6C3D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8/19 12: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7673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957724-74D0-4AAB-8366-EF91C6CD08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51057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E0C910-0166-48E0-B8EF-5071277A02A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8/19 12: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2A8292-E634-4C41-99F8-CEE3A95789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35240969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https://docs.microsoft.com/en-us/azure/bot-service/bot-builder-basics?view=azure-bot-service-4.0&amp;tabs=csharp</a:t>
            </a:r>
          </a:p>
          <a:p>
            <a:endParaRPr lang="en-US"/>
          </a:p>
          <a:p>
            <a:r>
              <a:rPr lang="en-US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89990A-BE12-4A95-B1FA-ADF3DD10D48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10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93308-1CCD-4083-9427-1DD59259FBE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1835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docs.microsoft.com/en-us/azure/bot-service/bot-builder-basics?view=azure-bot-service-4.0&amp;tabs=csharp</a:t>
            </a:r>
          </a:p>
          <a:p>
            <a:r>
              <a:rPr lang="en-US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89990A-BE12-4A95-B1FA-ADF3DD10D48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06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7.png"/><Relationship Id="rId3" Type="http://schemas.microsoft.com/office/2007/relationships/hdphoto" Target="../media/hdphoto2.wdp"/><Relationship Id="rId7" Type="http://schemas.openxmlformats.org/officeDocument/2006/relationships/image" Target="../media/image21.png"/><Relationship Id="rId12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11" Type="http://schemas.openxmlformats.org/officeDocument/2006/relationships/image" Target="../media/image24.png"/><Relationship Id="rId5" Type="http://schemas.openxmlformats.org/officeDocument/2006/relationships/image" Target="../media/image12.png"/><Relationship Id="rId15" Type="http://schemas.openxmlformats.org/officeDocument/2006/relationships/image" Target="../media/image19.png"/><Relationship Id="rId10" Type="http://schemas.openxmlformats.org/officeDocument/2006/relationships/image" Target="../media/image23.png"/><Relationship Id="rId4" Type="http://schemas.openxmlformats.org/officeDocument/2006/relationships/image" Target="../media/image4.png"/><Relationship Id="rId9" Type="http://schemas.openxmlformats.org/officeDocument/2006/relationships/image" Target="../media/image22.png"/><Relationship Id="rId14" Type="http://schemas.openxmlformats.org/officeDocument/2006/relationships/image" Target="../media/image18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dden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7B6D2C-4312-4967-BAAC-9D48AEB848A3}"/>
              </a:ext>
            </a:extLst>
          </p:cNvPr>
          <p:cNvSpPr/>
          <p:nvPr userDrawn="1"/>
        </p:nvSpPr>
        <p:spPr>
          <a:xfrm>
            <a:off x="0" y="6246796"/>
            <a:ext cx="12192000" cy="611204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969540-D041-46CC-B2E2-E90660122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534536-D30D-44F8-BCC3-003C1D55AB01}"/>
              </a:ext>
            </a:extLst>
          </p:cNvPr>
          <p:cNvSpPr txBox="1"/>
          <p:nvPr userDrawn="1"/>
        </p:nvSpPr>
        <p:spPr>
          <a:xfrm>
            <a:off x="105878" y="6306176"/>
            <a:ext cx="4032985" cy="492443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3200">
                <a:solidFill>
                  <a:srgbClr val="000000"/>
                </a:solidFill>
              </a:rPr>
              <a:t>Hidden Slid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1AD671C-BBA0-4AB5-91D7-E4F245ACA47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3102" y="1257300"/>
            <a:ext cx="11261697" cy="498088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Segoe Semibold" charset="0"/>
                <a:ea typeface="Segoe Semibold" charset="0"/>
                <a:cs typeface="Segoe Semibold" charset="0"/>
              </a:defRPr>
            </a:lvl1pPr>
            <a:lvl2pPr>
              <a:defRPr sz="2000" b="0" i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>
              <a:defRPr sz="2000" b="0" i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>
              <a:defRPr sz="2000" b="0" i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>
              <a:defRPr sz="2000" b="0" i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4AE94F-5DCA-ED49-8E82-3CDE4E86917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010899" y="6442502"/>
            <a:ext cx="1180135" cy="4154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29AFA16-AEC4-7D4A-82F3-BDAE8E4907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193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19769FB-C31A-4FF8-9361-7379FCB52F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10940146" y="6026635"/>
            <a:ext cx="108620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682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0CD2D2BF-BCAB-4D60-84D5-268B210223F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79012" y="6210236"/>
            <a:ext cx="57355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defTabSz="914088">
              <a:defRPr/>
            </a:pPr>
            <a:r>
              <a:rPr lang="en-US" sz="1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rPr>
              <a:t>© Copyright Microsoft Corporation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C0E794-6877-4C3E-8C3C-FF690CD12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209003" y="2117725"/>
            <a:ext cx="3103423" cy="18288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1AF9451-5C6F-45A6-8467-A3FFDBDED47D}"/>
              </a:ext>
            </a:extLst>
          </p:cNvPr>
          <p:cNvGrpSpPr/>
          <p:nvPr userDrawn="1"/>
        </p:nvGrpSpPr>
        <p:grpSpPr>
          <a:xfrm>
            <a:off x="4878977" y="328692"/>
            <a:ext cx="6714309" cy="6371837"/>
            <a:chOff x="1547949" y="-1422929"/>
            <a:chExt cx="4715691" cy="472200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4CE0FBF-640E-466F-BC88-9651C52ED98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83" t="24306" r="22100" b="19103"/>
            <a:stretch/>
          </p:blipFill>
          <p:spPr>
            <a:xfrm>
              <a:off x="1547949" y="-1422929"/>
              <a:ext cx="4715691" cy="4722003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08C5625-3CAC-4438-99C6-485BE7455A95}"/>
                </a:ext>
              </a:extLst>
            </p:cNvPr>
            <p:cNvSpPr/>
            <p:nvPr userDrawn="1"/>
          </p:nvSpPr>
          <p:spPr>
            <a:xfrm>
              <a:off x="1725930" y="-1301876"/>
              <a:ext cx="4537710" cy="4378234"/>
            </a:xfrm>
            <a:prstGeom prst="rect">
              <a:avLst/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36548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EAFD7D67-E580-489E-9473-D22D32B597A4}"/>
              </a:ext>
            </a:extLst>
          </p:cNvPr>
          <p:cNvGrpSpPr/>
          <p:nvPr userDrawn="1"/>
        </p:nvGrpSpPr>
        <p:grpSpPr>
          <a:xfrm>
            <a:off x="1196480" y="-116139"/>
            <a:ext cx="10528474" cy="9991456"/>
            <a:chOff x="1547949" y="-1422929"/>
            <a:chExt cx="4715691" cy="472200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75395F5-4799-453F-8929-465A5EF4512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83" t="24306" r="22100" b="19103"/>
            <a:stretch/>
          </p:blipFill>
          <p:spPr>
            <a:xfrm>
              <a:off x="1547949" y="-1422929"/>
              <a:ext cx="4715691" cy="4722003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CCE7C08-FD97-4D07-889C-BA7EF06D99C9}"/>
                </a:ext>
              </a:extLst>
            </p:cNvPr>
            <p:cNvSpPr/>
            <p:nvPr userDrawn="1"/>
          </p:nvSpPr>
          <p:spPr>
            <a:xfrm>
              <a:off x="1725930" y="-1301876"/>
              <a:ext cx="4537710" cy="3362059"/>
            </a:xfrm>
            <a:prstGeom prst="rect">
              <a:avLst/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31052682-9E78-4AD0-B400-F20A830FDF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103708" y="96637"/>
            <a:ext cx="1551713" cy="914400"/>
          </a:xfrm>
          <a:prstGeom prst="rect">
            <a:avLst/>
          </a:prstGeom>
        </p:spPr>
      </p:pic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4F0725F1-ACDC-458C-B079-21DD5E049B52}"/>
              </a:ext>
            </a:extLst>
          </p:cNvPr>
          <p:cNvGrpSpPr/>
          <p:nvPr userDrawn="1"/>
        </p:nvGrpSpPr>
        <p:grpSpPr>
          <a:xfrm>
            <a:off x="1459823" y="2820960"/>
            <a:ext cx="9272354" cy="2126697"/>
            <a:chOff x="330889" y="3147104"/>
            <a:chExt cx="11026173" cy="2528952"/>
          </a:xfrm>
        </p:grpSpPr>
        <p:grpSp>
          <p:nvGrpSpPr>
            <p:cNvPr id="1025" name="Group 1024">
              <a:extLst>
                <a:ext uri="{FF2B5EF4-FFF2-40B4-BE49-F238E27FC236}">
                  <a16:creationId xmlns:a16="http://schemas.microsoft.com/office/drawing/2014/main" id="{C7C2E64C-0E70-4BC2-99DE-6F15EF6DFD1D}"/>
                </a:ext>
              </a:extLst>
            </p:cNvPr>
            <p:cNvGrpSpPr/>
            <p:nvPr userDrawn="1"/>
          </p:nvGrpSpPr>
          <p:grpSpPr>
            <a:xfrm>
              <a:off x="330889" y="3147104"/>
              <a:ext cx="11026173" cy="1737360"/>
              <a:chOff x="330889" y="3147103"/>
              <a:chExt cx="11026172" cy="1737360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EBB2703D-E83E-42BC-91EB-39BFCAFC3F6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0889" y="3147103"/>
                <a:ext cx="3474719" cy="1737360"/>
              </a:xfrm>
              <a:prstGeom prst="rect">
                <a:avLst/>
              </a:prstGeom>
            </p:spPr>
          </p:pic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1071DA41-D79C-401D-BF2C-1868FF99A2F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29575" y="3375703"/>
                <a:ext cx="2560319" cy="1280160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0E4E0945-8722-4773-9243-B8E738163EB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13860" y="3329983"/>
                <a:ext cx="2743201" cy="1371600"/>
              </a:xfrm>
              <a:prstGeom prst="rect">
                <a:avLst/>
              </a:prstGeom>
            </p:spPr>
          </p:pic>
        </p:grpSp>
        <p:grpSp>
          <p:nvGrpSpPr>
            <p:cNvPr id="1027" name="Group 1026">
              <a:extLst>
                <a:ext uri="{FF2B5EF4-FFF2-40B4-BE49-F238E27FC236}">
                  <a16:creationId xmlns:a16="http://schemas.microsoft.com/office/drawing/2014/main" id="{97D92E28-5A52-436D-A8AB-3667B3814159}"/>
                </a:ext>
              </a:extLst>
            </p:cNvPr>
            <p:cNvGrpSpPr/>
            <p:nvPr userDrawn="1"/>
          </p:nvGrpSpPr>
          <p:grpSpPr>
            <a:xfrm>
              <a:off x="2937126" y="4395896"/>
              <a:ext cx="6488775" cy="1280160"/>
              <a:chOff x="1709217" y="4448144"/>
              <a:chExt cx="6488775" cy="1280159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08DF3330-BDF0-4E9C-AF31-BBF38C7A4B0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09217" y="4448144"/>
                <a:ext cx="2560319" cy="1280159"/>
              </a:xfrm>
              <a:prstGeom prst="rect">
                <a:avLst/>
              </a:prstGeom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0E771127-E00D-4365-9106-29D336ED3B6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20554" y="4493865"/>
                <a:ext cx="2377438" cy="1188719"/>
              </a:xfrm>
              <a:prstGeom prst="rect">
                <a:avLst/>
              </a:prstGeom>
            </p:spPr>
          </p:pic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BDA5AB8B-8B17-45DB-8295-4239B1623191}"/>
              </a:ext>
            </a:extLst>
          </p:cNvPr>
          <p:cNvSpPr txBox="1"/>
          <p:nvPr userDrawn="1"/>
        </p:nvSpPr>
        <p:spPr>
          <a:xfrm>
            <a:off x="4294513" y="369274"/>
            <a:ext cx="3507370" cy="492443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inum </a:t>
            </a:r>
            <a:r>
              <a:rPr lang="en-US" sz="32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ns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1F4DD61-89D8-4C62-89D9-26C850C887A7}"/>
              </a:ext>
            </a:extLst>
          </p:cNvPr>
          <p:cNvSpPr txBox="1"/>
          <p:nvPr userDrawn="1"/>
        </p:nvSpPr>
        <p:spPr>
          <a:xfrm>
            <a:off x="4892344" y="2449221"/>
            <a:ext cx="2709075" cy="492443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ld </a:t>
            </a:r>
            <a:r>
              <a:rPr lang="en-US" sz="32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nsor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7286ACB-DCDC-4785-B919-AB6440106A27}"/>
              </a:ext>
            </a:extLst>
          </p:cNvPr>
          <p:cNvSpPr txBox="1"/>
          <p:nvPr userDrawn="1"/>
        </p:nvSpPr>
        <p:spPr>
          <a:xfrm>
            <a:off x="4331430" y="5092594"/>
            <a:ext cx="3634008" cy="492443"/>
          </a:xfrm>
          <a:prstGeom prst="rect">
            <a:avLst/>
          </a:prstGeom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</a:t>
            </a:r>
            <a:r>
              <a:rPr lang="en-US" sz="32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nsor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B658C664-F7DE-42A2-B77F-A39B64BFE99A}"/>
              </a:ext>
            </a:extLst>
          </p:cNvPr>
          <p:cNvGrpSpPr/>
          <p:nvPr userDrawn="1"/>
        </p:nvGrpSpPr>
        <p:grpSpPr>
          <a:xfrm>
            <a:off x="3040030" y="5699516"/>
            <a:ext cx="6016335" cy="1104821"/>
            <a:chOff x="4525263" y="5432382"/>
            <a:chExt cx="6016335" cy="1104821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491E46E-87FA-4EF8-AFDF-877145A820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25263" y="5432382"/>
              <a:ext cx="1104821" cy="1104821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8C775C8-CFA0-4CBB-B899-953C751505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8498" y="5432382"/>
              <a:ext cx="1104821" cy="1104821"/>
            </a:xfrm>
            <a:prstGeom prst="rect">
              <a:avLst/>
            </a:prstGeom>
          </p:spPr>
        </p:pic>
        <p:pic>
          <p:nvPicPr>
            <p:cNvPr id="2" name="Immagine 1">
              <a:extLst>
                <a:ext uri="{FF2B5EF4-FFF2-40B4-BE49-F238E27FC236}">
                  <a16:creationId xmlns:a16="http://schemas.microsoft.com/office/drawing/2014/main" id="{72E17D57-42D5-4044-8253-937EE201708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8351734" y="5625091"/>
              <a:ext cx="2189864" cy="729956"/>
            </a:xfrm>
            <a:prstGeom prst="rect">
              <a:avLst/>
            </a:prstGeom>
          </p:spPr>
        </p:pic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B54C25D-B188-45C9-8D28-7ABDB2EB4B6A}"/>
              </a:ext>
            </a:extLst>
          </p:cNvPr>
          <p:cNvCxnSpPr/>
          <p:nvPr userDrawn="1"/>
        </p:nvCxnSpPr>
        <p:spPr>
          <a:xfrm>
            <a:off x="1984664" y="618254"/>
            <a:ext cx="209376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2F35B0B-640D-42B8-BDCA-0733C659D0C2}"/>
              </a:ext>
            </a:extLst>
          </p:cNvPr>
          <p:cNvCxnSpPr/>
          <p:nvPr userDrawn="1"/>
        </p:nvCxnSpPr>
        <p:spPr>
          <a:xfrm>
            <a:off x="8061302" y="618254"/>
            <a:ext cx="209376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A9435D1-D59B-49CA-A2B3-43EB4244CAAC}"/>
              </a:ext>
            </a:extLst>
          </p:cNvPr>
          <p:cNvCxnSpPr/>
          <p:nvPr userDrawn="1"/>
        </p:nvCxnSpPr>
        <p:spPr>
          <a:xfrm>
            <a:off x="2105891" y="2732306"/>
            <a:ext cx="209376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8A07431-5E21-4CB6-9BCB-50ACD2D6D424}"/>
              </a:ext>
            </a:extLst>
          </p:cNvPr>
          <p:cNvCxnSpPr/>
          <p:nvPr userDrawn="1"/>
        </p:nvCxnSpPr>
        <p:spPr>
          <a:xfrm>
            <a:off x="8182529" y="2732306"/>
            <a:ext cx="209376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4822890-F49F-4758-8954-02E05099F729}"/>
              </a:ext>
            </a:extLst>
          </p:cNvPr>
          <p:cNvCxnSpPr/>
          <p:nvPr userDrawn="1"/>
        </p:nvCxnSpPr>
        <p:spPr>
          <a:xfrm>
            <a:off x="2051083" y="5361817"/>
            <a:ext cx="209376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387994B-7FBB-4635-B076-A8BFA71EF949}"/>
              </a:ext>
            </a:extLst>
          </p:cNvPr>
          <p:cNvCxnSpPr/>
          <p:nvPr userDrawn="1"/>
        </p:nvCxnSpPr>
        <p:spPr>
          <a:xfrm>
            <a:off x="8127721" y="5361817"/>
            <a:ext cx="209376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F58ECBCF-B6DB-40DF-B023-1F66C9AC9722}"/>
              </a:ext>
            </a:extLst>
          </p:cNvPr>
          <p:cNvGrpSpPr/>
          <p:nvPr userDrawn="1"/>
        </p:nvGrpSpPr>
        <p:grpSpPr>
          <a:xfrm>
            <a:off x="197380" y="817551"/>
            <a:ext cx="11741896" cy="1898386"/>
            <a:chOff x="197380" y="604542"/>
            <a:chExt cx="11741896" cy="189838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793BF2D-C359-4F38-974B-97585605A8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380" y="680478"/>
              <a:ext cx="3916987" cy="1746515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87EF9A2F-93D5-4E9F-B6E0-48EFD67029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4985" y="604542"/>
              <a:ext cx="4257594" cy="189838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820F8B9-AFE1-4376-8A61-74B6970937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9013197" y="822215"/>
              <a:ext cx="2926079" cy="14630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19414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Font typeface="Wingdings" charset="2"/>
              <a:buNone/>
              <a:defRPr>
                <a:solidFill>
                  <a:schemeClr val="tx2"/>
                </a:solidFill>
              </a:defRPr>
            </a:lvl1pPr>
            <a:lvl2pPr marL="609609" indent="0">
              <a:buFont typeface="Wingdings" charset="2"/>
              <a:buNone/>
              <a:defRPr>
                <a:solidFill>
                  <a:srgbClr val="474947"/>
                </a:solidFill>
              </a:defRPr>
            </a:lvl2pPr>
            <a:lvl3pPr marL="1219218" indent="0">
              <a:buFont typeface="Wingdings" charset="2"/>
              <a:buNone/>
              <a:defRPr>
                <a:solidFill>
                  <a:srgbClr val="474947"/>
                </a:solidFill>
              </a:defRPr>
            </a:lvl3pPr>
            <a:lvl4pPr marL="1828826" indent="0">
              <a:buFont typeface="Wingdings" charset="2"/>
              <a:buNone/>
              <a:defRPr>
                <a:solidFill>
                  <a:srgbClr val="474947"/>
                </a:solidFill>
              </a:defRPr>
            </a:lvl4pPr>
            <a:lvl5pPr marL="2438434" indent="0">
              <a:buFont typeface="Wingdings" charset="2"/>
              <a:buNone/>
              <a:defRPr>
                <a:solidFill>
                  <a:srgbClr val="47494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7286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369" y="381375"/>
            <a:ext cx="11429264" cy="6095252"/>
          </a:xfrm>
        </p:spPr>
        <p:txBody>
          <a:bodyPr anchor="ctr"/>
          <a:lstStyle>
            <a:lvl1pPr algn="r">
              <a:defRPr sz="6350" b="0" i="0" cap="none">
                <a:solidFill>
                  <a:schemeClr val="accent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96151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19220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85894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1" y="1434371"/>
            <a:ext cx="11018520" cy="1839991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597" indent="0">
              <a:buNone/>
              <a:defRPr/>
            </a:lvl2pPr>
            <a:lvl3pPr marL="457194" indent="0">
              <a:buNone/>
              <a:defRPr/>
            </a:lvl3pPr>
            <a:lvl4pPr marL="685791" indent="0">
              <a:buNone/>
              <a:defRPr/>
            </a:lvl4pPr>
            <a:lvl5pPr marL="91438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17264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73063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Cle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3"/>
          <p:cNvSpPr>
            <a:spLocks noGrp="1"/>
          </p:cNvSpPr>
          <p:nvPr>
            <p:ph type="title" hasCustomPrompt="1"/>
          </p:nvPr>
        </p:nvSpPr>
        <p:spPr>
          <a:xfrm>
            <a:off x="457200" y="2597647"/>
            <a:ext cx="10553700" cy="1402854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8000" b="1" i="0" baseline="0">
                <a:solidFill>
                  <a:schemeClr val="accent2"/>
                </a:solidFill>
                <a:latin typeface="+mj-lt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57199" y="5372664"/>
            <a:ext cx="10553699" cy="422162"/>
          </a:xfrm>
          <a:prstGeom prst="rect">
            <a:avLst/>
          </a:prstGeom>
        </p:spPr>
        <p:txBody>
          <a:bodyPr/>
          <a:lstStyle>
            <a:lvl1pPr>
              <a:defRPr sz="2000" b="1" i="0">
                <a:solidFill>
                  <a:schemeClr val="accent2"/>
                </a:solidFill>
                <a:latin typeface="+mn-lt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Speaker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" y="5854319"/>
            <a:ext cx="10553698" cy="318060"/>
          </a:xfrm>
          <a:prstGeom prst="rect">
            <a:avLst/>
          </a:prstGeom>
        </p:spPr>
        <p:txBody>
          <a:bodyPr anchor="b"/>
          <a:lstStyle>
            <a:lvl1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17" name="Shape 78">
            <a:extLst>
              <a:ext uri="{FF2B5EF4-FFF2-40B4-BE49-F238E27FC236}">
                <a16:creationId xmlns:a16="http://schemas.microsoft.com/office/drawing/2014/main" id="{5B62705F-AD52-EB48-85F8-19E8F8A3F041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457200" y="4000501"/>
            <a:ext cx="10553700" cy="679384"/>
          </a:xfrm>
          <a:prstGeom prst="rect">
            <a:avLst/>
          </a:prstGeom>
        </p:spPr>
        <p:txBody>
          <a:bodyPr vert="horz" lIns="0" tIns="91440" rIns="0" bIns="0" rtlCol="0" anchor="t" anchorCtr="0">
            <a:noAutofit/>
          </a:bodyPr>
          <a:lstStyle>
            <a:lvl1pPr marL="457114" indent="-457114">
              <a:buFont typeface="+mj-lt"/>
              <a:buNone/>
              <a:tabLst>
                <a:tab pos="1828800" algn="l"/>
              </a:tabLst>
              <a:defRPr sz="32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indent="0"/>
            <a:r>
              <a:rPr lang="en-US"/>
              <a:t>Sub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8D8FBB-1780-41E3-B231-D3C37B4643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457199" y="155420"/>
            <a:ext cx="2380607" cy="1402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7589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Azure ic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D0FAD0A-0919-49BB-BB80-89206274AD6F}"/>
              </a:ext>
            </a:extLst>
          </p:cNvPr>
          <p:cNvGrpSpPr/>
          <p:nvPr userDrawn="1"/>
        </p:nvGrpSpPr>
        <p:grpSpPr>
          <a:xfrm rot="1163624">
            <a:off x="4150027" y="746225"/>
            <a:ext cx="8082949" cy="4718895"/>
            <a:chOff x="4611189" y="-96329"/>
            <a:chExt cx="8082949" cy="4718895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C68F535-7122-46C3-9545-2992190058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895" b="21176"/>
            <a:stretch/>
          </p:blipFill>
          <p:spPr>
            <a:xfrm>
              <a:off x="4686301" y="-96329"/>
              <a:ext cx="8007837" cy="4718895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8A3EE73-E7AB-4FE7-B552-3156D87E7691}"/>
                </a:ext>
              </a:extLst>
            </p:cNvPr>
            <p:cNvSpPr/>
            <p:nvPr userDrawn="1"/>
          </p:nvSpPr>
          <p:spPr>
            <a:xfrm>
              <a:off x="4611189" y="76201"/>
              <a:ext cx="7772400" cy="4378234"/>
            </a:xfrm>
            <a:prstGeom prst="rect">
              <a:avLst/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47F38F05-D583-4D1E-B0D3-1EF4F135C8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457199" y="155420"/>
            <a:ext cx="2380607" cy="1402855"/>
          </a:xfrm>
          <a:prstGeom prst="rect">
            <a:avLst/>
          </a:prstGeom>
        </p:spPr>
      </p:pic>
      <p:sp>
        <p:nvSpPr>
          <p:cNvPr id="23" name="Title 13">
            <a:extLst>
              <a:ext uri="{FF2B5EF4-FFF2-40B4-BE49-F238E27FC236}">
                <a16:creationId xmlns:a16="http://schemas.microsoft.com/office/drawing/2014/main" id="{F6C2F544-97E3-4339-89D4-F3B8413F52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597647"/>
            <a:ext cx="10553700" cy="1402854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8000" b="1" i="0" baseline="0">
                <a:solidFill>
                  <a:schemeClr val="accent2"/>
                </a:solidFill>
                <a:latin typeface="+mj-lt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7E72CE4-2317-4FF4-B4A4-A514D9A0175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7199" y="5372664"/>
            <a:ext cx="10553699" cy="422162"/>
          </a:xfrm>
          <a:prstGeom prst="rect">
            <a:avLst/>
          </a:prstGeom>
        </p:spPr>
        <p:txBody>
          <a:bodyPr/>
          <a:lstStyle>
            <a:lvl1pPr>
              <a:defRPr sz="2000" b="1" i="0">
                <a:solidFill>
                  <a:schemeClr val="accent2"/>
                </a:solidFill>
                <a:latin typeface="+mn-lt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Speaker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76C6378-8568-43A6-AD1F-E642F87389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200" y="5854319"/>
            <a:ext cx="10553698" cy="318060"/>
          </a:xfrm>
          <a:prstGeom prst="rect">
            <a:avLst/>
          </a:prstGeom>
        </p:spPr>
        <p:txBody>
          <a:bodyPr anchor="b"/>
          <a:lstStyle>
            <a:lvl1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28" name="Shape 78">
            <a:extLst>
              <a:ext uri="{FF2B5EF4-FFF2-40B4-BE49-F238E27FC236}">
                <a16:creationId xmlns:a16="http://schemas.microsoft.com/office/drawing/2014/main" id="{570DAE82-EBE9-46F5-86E1-8DF384C2E4DF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457200" y="4000501"/>
            <a:ext cx="10553700" cy="679384"/>
          </a:xfrm>
          <a:prstGeom prst="rect">
            <a:avLst/>
          </a:prstGeom>
        </p:spPr>
        <p:txBody>
          <a:bodyPr vert="horz" lIns="0" tIns="91440" rIns="0" bIns="0" rtlCol="0" anchor="t" anchorCtr="0">
            <a:noAutofit/>
          </a:bodyPr>
          <a:lstStyle>
            <a:lvl1pPr marL="457114" indent="-457114">
              <a:buFont typeface="+mj-lt"/>
              <a:buNone/>
              <a:tabLst>
                <a:tab pos="1828800" algn="l"/>
              </a:tabLst>
              <a:defRPr sz="32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indent="0"/>
            <a:r>
              <a:rPr lang="en-US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378552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Viz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E5E68C6B-FA04-46A1-9744-2AC3DC94F602}"/>
              </a:ext>
            </a:extLst>
          </p:cNvPr>
          <p:cNvGrpSpPr/>
          <p:nvPr userDrawn="1"/>
        </p:nvGrpSpPr>
        <p:grpSpPr>
          <a:xfrm rot="1170978">
            <a:off x="5081451" y="113155"/>
            <a:ext cx="6714309" cy="6371837"/>
            <a:chOff x="1547949" y="-1422929"/>
            <a:chExt cx="4715691" cy="472200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02DC90A-95D8-4033-8BC7-1A734A9C8A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83" t="24306" r="22100" b="19103"/>
            <a:stretch/>
          </p:blipFill>
          <p:spPr>
            <a:xfrm>
              <a:off x="1547949" y="-1422929"/>
              <a:ext cx="4715691" cy="4722003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49C90DF-5C00-4F62-AB98-810053047E98}"/>
                </a:ext>
              </a:extLst>
            </p:cNvPr>
            <p:cNvSpPr/>
            <p:nvPr userDrawn="1"/>
          </p:nvSpPr>
          <p:spPr>
            <a:xfrm>
              <a:off x="1725930" y="-1301876"/>
              <a:ext cx="4537710" cy="4378234"/>
            </a:xfrm>
            <a:prstGeom prst="rect">
              <a:avLst/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74518C79-5C05-466E-905C-0F974FEB36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457199" y="155420"/>
            <a:ext cx="2380607" cy="1402855"/>
          </a:xfrm>
          <a:prstGeom prst="rect">
            <a:avLst/>
          </a:prstGeom>
        </p:spPr>
      </p:pic>
      <p:sp>
        <p:nvSpPr>
          <p:cNvPr id="31" name="Title 13">
            <a:extLst>
              <a:ext uri="{FF2B5EF4-FFF2-40B4-BE49-F238E27FC236}">
                <a16:creationId xmlns:a16="http://schemas.microsoft.com/office/drawing/2014/main" id="{5136C463-1C86-4F37-956B-B08F161916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597647"/>
            <a:ext cx="10553700" cy="1402854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8000" b="1" i="0" baseline="0">
                <a:solidFill>
                  <a:schemeClr val="accent2"/>
                </a:solidFill>
                <a:latin typeface="+mj-lt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ABED3B5E-14B8-485D-9747-E1CC95971E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7199" y="5372664"/>
            <a:ext cx="10553699" cy="422162"/>
          </a:xfrm>
          <a:prstGeom prst="rect">
            <a:avLst/>
          </a:prstGeom>
        </p:spPr>
        <p:txBody>
          <a:bodyPr/>
          <a:lstStyle>
            <a:lvl1pPr>
              <a:defRPr sz="2000" b="1" i="0">
                <a:solidFill>
                  <a:schemeClr val="accent2"/>
                </a:solidFill>
                <a:latin typeface="+mn-lt"/>
                <a:ea typeface="Segoe UI Semibold" charset="0"/>
                <a:cs typeface="Segoe UI Semibold" charset="0"/>
              </a:defRPr>
            </a:lvl1pPr>
          </a:lstStyle>
          <a:p>
            <a:pPr lvl="0"/>
            <a:r>
              <a:rPr lang="en-US"/>
              <a:t>Speaker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1305D68-13C8-4D3E-B304-D4F3D886456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200" y="5854319"/>
            <a:ext cx="10553698" cy="318060"/>
          </a:xfrm>
          <a:prstGeom prst="rect">
            <a:avLst/>
          </a:prstGeom>
        </p:spPr>
        <p:txBody>
          <a:bodyPr anchor="b"/>
          <a:lstStyle>
            <a:lvl1pPr>
              <a:defRPr sz="2000" b="0" i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sp>
        <p:nvSpPr>
          <p:cNvPr id="34" name="Shape 78">
            <a:extLst>
              <a:ext uri="{FF2B5EF4-FFF2-40B4-BE49-F238E27FC236}">
                <a16:creationId xmlns:a16="http://schemas.microsoft.com/office/drawing/2014/main" id="{79E7BC5F-EB43-4E29-8E50-3226810A1997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457200" y="4000501"/>
            <a:ext cx="10553700" cy="679384"/>
          </a:xfrm>
          <a:prstGeom prst="rect">
            <a:avLst/>
          </a:prstGeom>
        </p:spPr>
        <p:txBody>
          <a:bodyPr vert="horz" lIns="0" tIns="91440" rIns="0" bIns="0" rtlCol="0" anchor="t" anchorCtr="0">
            <a:noAutofit/>
          </a:bodyPr>
          <a:lstStyle>
            <a:lvl1pPr marL="457114" indent="-457114">
              <a:buFont typeface="+mj-lt"/>
              <a:buNone/>
              <a:tabLst>
                <a:tab pos="1828800" algn="l"/>
              </a:tabLst>
              <a:defRPr sz="3200" b="1" i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marL="0" lvl="0" indent="0"/>
            <a:r>
              <a:rPr lang="en-US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2406238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9462FA2-7925-48DA-A12B-265CD1D8FECD}"/>
              </a:ext>
            </a:extLst>
          </p:cNvPr>
          <p:cNvGrpSpPr/>
          <p:nvPr userDrawn="1"/>
        </p:nvGrpSpPr>
        <p:grpSpPr>
          <a:xfrm rot="1163624">
            <a:off x="4150027" y="746225"/>
            <a:ext cx="8082949" cy="4718895"/>
            <a:chOff x="4611189" y="-96329"/>
            <a:chExt cx="8082949" cy="471889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FB5BCB0-DE98-4B4B-94FD-C2A5D11ABF2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895" b="21176"/>
            <a:stretch/>
          </p:blipFill>
          <p:spPr>
            <a:xfrm>
              <a:off x="4686301" y="-96329"/>
              <a:ext cx="8007837" cy="4718895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B939422-26F3-43AD-8AC1-EFE23B35BA00}"/>
                </a:ext>
              </a:extLst>
            </p:cNvPr>
            <p:cNvSpPr/>
            <p:nvPr userDrawn="1"/>
          </p:nvSpPr>
          <p:spPr>
            <a:xfrm>
              <a:off x="4611189" y="76201"/>
              <a:ext cx="7772400" cy="4378234"/>
            </a:xfrm>
            <a:prstGeom prst="rect">
              <a:avLst/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itle 13">
            <a:extLst>
              <a:ext uri="{FF2B5EF4-FFF2-40B4-BE49-F238E27FC236}">
                <a16:creationId xmlns:a16="http://schemas.microsoft.com/office/drawing/2014/main" id="{4E7B2027-1308-4A04-AA79-EEE0E28B92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960" y="3276601"/>
            <a:ext cx="9138240" cy="14024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>
              <a:defRPr sz="54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ivider</a:t>
            </a:r>
          </a:p>
        </p:txBody>
      </p:sp>
      <p:sp>
        <p:nvSpPr>
          <p:cNvPr id="6" name="Shape 78">
            <a:extLst>
              <a:ext uri="{FF2B5EF4-FFF2-40B4-BE49-F238E27FC236}">
                <a16:creationId xmlns:a16="http://schemas.microsoft.com/office/drawing/2014/main" id="{D8A84712-61B5-4377-94DF-866400670828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462960" y="2590800"/>
            <a:ext cx="8452440" cy="6858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457114" indent="-457114">
              <a:buFont typeface="+mj-lt"/>
              <a:buNone/>
              <a:defRPr sz="2400" b="1" i="0" dirty="0">
                <a:solidFill>
                  <a:schemeClr val="accent2"/>
                </a:solidFill>
                <a:latin typeface="+mj-lt"/>
                <a:ea typeface="Segoe UI Semibold" charset="0"/>
                <a:cs typeface="Segoe UI Semibold" charset="0"/>
              </a:defRPr>
            </a:lvl1pPr>
          </a:lstStyle>
          <a:p>
            <a:pPr marL="0" lvl="0" indent="0"/>
            <a:r>
              <a:rPr lang="en-US"/>
              <a:t>Section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7CBE49F-022F-4596-9661-8C466BC9C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10384974" y="5758847"/>
            <a:ext cx="1551713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597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(Viz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4A5441D3-9CD0-4A73-8F4F-3846F0EBCB93}"/>
              </a:ext>
            </a:extLst>
          </p:cNvPr>
          <p:cNvGrpSpPr/>
          <p:nvPr userDrawn="1"/>
        </p:nvGrpSpPr>
        <p:grpSpPr>
          <a:xfrm rot="1170978">
            <a:off x="5081451" y="113155"/>
            <a:ext cx="6714309" cy="6371837"/>
            <a:chOff x="1547949" y="-1422929"/>
            <a:chExt cx="4715691" cy="472200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BFC4897-885B-4A5A-9CB9-CE6CCC0CC0E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83" t="24306" r="22100" b="19103"/>
            <a:stretch/>
          </p:blipFill>
          <p:spPr>
            <a:xfrm>
              <a:off x="1547949" y="-1422929"/>
              <a:ext cx="4715691" cy="4722003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3FFF5D8-4EB7-4595-9FB1-7A058EE3569D}"/>
                </a:ext>
              </a:extLst>
            </p:cNvPr>
            <p:cNvSpPr/>
            <p:nvPr userDrawn="1"/>
          </p:nvSpPr>
          <p:spPr>
            <a:xfrm>
              <a:off x="1725930" y="-1301876"/>
              <a:ext cx="4537710" cy="4378234"/>
            </a:xfrm>
            <a:prstGeom prst="rect">
              <a:avLst/>
            </a:prstGeom>
            <a:solidFill>
              <a:srgbClr val="FFFFFF">
                <a:alpha val="75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3">
            <a:extLst>
              <a:ext uri="{FF2B5EF4-FFF2-40B4-BE49-F238E27FC236}">
                <a16:creationId xmlns:a16="http://schemas.microsoft.com/office/drawing/2014/main" id="{6037461D-632E-404D-BB75-731493EDC0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960" y="3276601"/>
            <a:ext cx="9138240" cy="14024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>
              <a:defRPr sz="54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ivider</a:t>
            </a:r>
          </a:p>
        </p:txBody>
      </p:sp>
      <p:sp>
        <p:nvSpPr>
          <p:cNvPr id="10" name="Shape 78">
            <a:extLst>
              <a:ext uri="{FF2B5EF4-FFF2-40B4-BE49-F238E27FC236}">
                <a16:creationId xmlns:a16="http://schemas.microsoft.com/office/drawing/2014/main" id="{02FD2D8F-4FAF-48C2-B9C9-6D1822EE9549}"/>
              </a:ext>
            </a:extLst>
          </p:cNvPr>
          <p:cNvSpPr txBox="1">
            <a:spLocks noGrp="1"/>
          </p:cNvSpPr>
          <p:nvPr>
            <p:ph type="body" idx="7" hasCustomPrompt="1"/>
          </p:nvPr>
        </p:nvSpPr>
        <p:spPr>
          <a:xfrm>
            <a:off x="462960" y="2590800"/>
            <a:ext cx="8452440" cy="6858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457114" indent="-457114">
              <a:buFont typeface="+mj-lt"/>
              <a:buNone/>
              <a:defRPr sz="2400" b="1" i="0" dirty="0">
                <a:solidFill>
                  <a:schemeClr val="accent2"/>
                </a:solidFill>
                <a:latin typeface="+mj-lt"/>
                <a:ea typeface="Segoe UI Semibold" charset="0"/>
                <a:cs typeface="Segoe UI Semibold" charset="0"/>
              </a:defRPr>
            </a:lvl1pPr>
          </a:lstStyle>
          <a:p>
            <a:pPr marL="0" lvl="0" indent="0"/>
            <a:r>
              <a:rPr lang="en-US"/>
              <a:t>Section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4378E16-DA49-49C4-B3A3-F81DB15F26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10384974" y="5758847"/>
            <a:ext cx="1551713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204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o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1409B-B3B3-459F-A190-E9990FCE3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C34D72-BC13-41E0-B2C3-02A321D4863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1366405"/>
            <a:ext cx="11277599" cy="462944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225B192-A165-42E5-9623-1EB342B6C2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10940146" y="6026635"/>
            <a:ext cx="108620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0747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4873C298-4752-4898-B421-CF30ABFE566D}"/>
              </a:ext>
            </a:extLst>
          </p:cNvPr>
          <p:cNvGrpSpPr/>
          <p:nvPr userDrawn="1"/>
        </p:nvGrpSpPr>
        <p:grpSpPr>
          <a:xfrm>
            <a:off x="4878977" y="328692"/>
            <a:ext cx="6714309" cy="6371837"/>
            <a:chOff x="1547949" y="-1422929"/>
            <a:chExt cx="4715691" cy="472200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0C796AD-96FD-44EB-B8E9-8456E38920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83" t="24306" r="22100" b="19103"/>
            <a:stretch/>
          </p:blipFill>
          <p:spPr>
            <a:xfrm>
              <a:off x="1547949" y="-1422929"/>
              <a:ext cx="4715691" cy="4722003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E988B4C-8BE1-4085-93FB-75B20737EC61}"/>
                </a:ext>
              </a:extLst>
            </p:cNvPr>
            <p:cNvSpPr/>
            <p:nvPr userDrawn="1"/>
          </p:nvSpPr>
          <p:spPr>
            <a:xfrm>
              <a:off x="1725930" y="-1301876"/>
              <a:ext cx="4537710" cy="4378234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07538AA-B75F-4873-9903-31AA1E14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886891"/>
            <a:ext cx="11277599" cy="712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emo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EB36475-1F84-4BB8-96CA-CAE99F8A23C9}"/>
              </a:ext>
            </a:extLst>
          </p:cNvPr>
          <p:cNvSpPr txBox="1">
            <a:spLocks/>
          </p:cNvSpPr>
          <p:nvPr userDrawn="1"/>
        </p:nvSpPr>
        <p:spPr>
          <a:xfrm>
            <a:off x="457200" y="3913231"/>
            <a:ext cx="11277599" cy="7123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132" rtl="0" eaLnBrk="1" latinLnBrk="0" hangingPunct="1">
              <a:lnSpc>
                <a:spcPct val="90000"/>
              </a:lnSpc>
              <a:spcBef>
                <a:spcPct val="0"/>
              </a:spcBef>
              <a:buFont typeface="Arial" charset="0"/>
              <a:buNone/>
              <a:defRPr lang="en-US" sz="4400" b="1" i="0" kern="1200" spc="-100" baseline="0">
                <a:solidFill>
                  <a:schemeClr val="tx1"/>
                </a:solidFill>
                <a:latin typeface="+mj-lt"/>
                <a:ea typeface="Segoe UI Semibold" charset="0"/>
                <a:cs typeface="Segoe UI Semibold" charset="0"/>
              </a:defRPr>
            </a:lvl1pPr>
          </a:lstStyle>
          <a:p>
            <a:endParaRPr lang="en-US" sz="3600"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1ABDB7C-1CED-496E-A08B-C175C1A706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7937" y="5252535"/>
            <a:ext cx="1605465" cy="1605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9667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96C2B2E-5920-45EA-AE97-24724EC588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5" b="21176"/>
          <a:stretch/>
        </p:blipFill>
        <p:spPr>
          <a:xfrm>
            <a:off x="129889" y="146402"/>
            <a:ext cx="1086200" cy="6400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E07105D-33E1-4E6F-92F4-CC83B4728D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48361" y="1371600"/>
            <a:ext cx="6681458" cy="4114800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D2D5BEA-5A4C-4C22-83A4-68EDFB2D0BD2}"/>
              </a:ext>
            </a:extLst>
          </p:cNvPr>
          <p:cNvGrpSpPr/>
          <p:nvPr userDrawn="1"/>
        </p:nvGrpSpPr>
        <p:grpSpPr>
          <a:xfrm>
            <a:off x="425288" y="490334"/>
            <a:ext cx="3528547" cy="6232760"/>
            <a:chOff x="425288" y="490334"/>
            <a:chExt cx="3528547" cy="6232760"/>
          </a:xfrm>
        </p:grpSpPr>
        <p:grpSp>
          <p:nvGrpSpPr>
            <p:cNvPr id="23" name="Gruppo 22">
              <a:extLst>
                <a:ext uri="{FF2B5EF4-FFF2-40B4-BE49-F238E27FC236}">
                  <a16:creationId xmlns:a16="http://schemas.microsoft.com/office/drawing/2014/main" id="{241AB1B0-93FA-42CD-B7FC-C5F1335BD003}"/>
                </a:ext>
              </a:extLst>
            </p:cNvPr>
            <p:cNvGrpSpPr/>
            <p:nvPr userDrawn="1"/>
          </p:nvGrpSpPr>
          <p:grpSpPr>
            <a:xfrm>
              <a:off x="425288" y="5808694"/>
              <a:ext cx="3528547" cy="914400"/>
              <a:chOff x="95861" y="5796050"/>
              <a:chExt cx="3528547" cy="914400"/>
            </a:xfrm>
          </p:grpSpPr>
          <p:pic>
            <p:nvPicPr>
              <p:cNvPr id="17" name="Picture 15">
                <a:extLst>
                  <a:ext uri="{FF2B5EF4-FFF2-40B4-BE49-F238E27FC236}">
                    <a16:creationId xmlns:a16="http://schemas.microsoft.com/office/drawing/2014/main" id="{3D0331B1-A86F-4856-A514-8E62662E2EC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861" y="579605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CE62279A-B0F5-4C6C-8D32-41ECB45AF8B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7176" y="579605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9" name="Immagine 18">
                <a:extLst>
                  <a:ext uri="{FF2B5EF4-FFF2-40B4-BE49-F238E27FC236}">
                    <a16:creationId xmlns:a16="http://schemas.microsoft.com/office/drawing/2014/main" id="{B2E4ADAE-EA4D-44DA-B002-FA344963304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/>
              <a:stretch>
                <a:fillRect/>
              </a:stretch>
            </p:blipFill>
            <p:spPr>
              <a:xfrm>
                <a:off x="1978491" y="5978930"/>
                <a:ext cx="1645917" cy="548640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DA335F0-FD6C-4D8E-A7D6-312695A86DA8}"/>
                </a:ext>
              </a:extLst>
            </p:cNvPr>
            <p:cNvGrpSpPr/>
            <p:nvPr userDrawn="1"/>
          </p:nvGrpSpPr>
          <p:grpSpPr>
            <a:xfrm>
              <a:off x="471006" y="3100038"/>
              <a:ext cx="3437110" cy="2826965"/>
              <a:chOff x="471006" y="2715580"/>
              <a:chExt cx="3437110" cy="2826965"/>
            </a:xfrm>
          </p:grpSpPr>
          <p:pic>
            <p:nvPicPr>
              <p:cNvPr id="13" name="Picture 23">
                <a:extLst>
                  <a:ext uri="{FF2B5EF4-FFF2-40B4-BE49-F238E27FC236}">
                    <a16:creationId xmlns:a16="http://schemas.microsoft.com/office/drawing/2014/main" id="{6A56023D-E414-4140-A66A-45DBA7D81B0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92281" y="4445265"/>
                <a:ext cx="2194560" cy="1097280"/>
              </a:xfrm>
              <a:prstGeom prst="rect">
                <a:avLst/>
              </a:prstGeom>
            </p:spPr>
          </p:pic>
          <p:grpSp>
            <p:nvGrpSpPr>
              <p:cNvPr id="2" name="Gruppo 1">
                <a:extLst>
                  <a:ext uri="{FF2B5EF4-FFF2-40B4-BE49-F238E27FC236}">
                    <a16:creationId xmlns:a16="http://schemas.microsoft.com/office/drawing/2014/main" id="{3928F5D9-A32C-4A50-A9B0-E14D3578C1F1}"/>
                  </a:ext>
                </a:extLst>
              </p:cNvPr>
              <p:cNvGrpSpPr/>
              <p:nvPr userDrawn="1"/>
            </p:nvGrpSpPr>
            <p:grpSpPr>
              <a:xfrm>
                <a:off x="482083" y="2715580"/>
                <a:ext cx="3414956" cy="822960"/>
                <a:chOff x="215959" y="3000248"/>
                <a:chExt cx="3414956" cy="822960"/>
              </a:xfrm>
            </p:grpSpPr>
            <p:pic>
              <p:nvPicPr>
                <p:cNvPr id="14" name="Picture 25">
                  <a:extLst>
                    <a:ext uri="{FF2B5EF4-FFF2-40B4-BE49-F238E27FC236}">
                      <a16:creationId xmlns:a16="http://schemas.microsoft.com/office/drawing/2014/main" id="{7DA56367-713E-4E02-8FE9-7D086AF2BBE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84995" y="3000248"/>
                  <a:ext cx="1645920" cy="822960"/>
                </a:xfrm>
                <a:prstGeom prst="rect">
                  <a:avLst/>
                </a:prstGeom>
              </p:spPr>
            </p:pic>
            <p:pic>
              <p:nvPicPr>
                <p:cNvPr id="11" name="Picture 19">
                  <a:extLst>
                    <a:ext uri="{FF2B5EF4-FFF2-40B4-BE49-F238E27FC236}">
                      <a16:creationId xmlns:a16="http://schemas.microsoft.com/office/drawing/2014/main" id="{719CA8D0-962F-4BBC-A38A-3E0A01637C9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5959" y="3000248"/>
                  <a:ext cx="1645920" cy="822960"/>
                </a:xfrm>
                <a:prstGeom prst="rect">
                  <a:avLst/>
                </a:prstGeom>
              </p:spPr>
            </p:pic>
          </p:grpSp>
          <p:grpSp>
            <p:nvGrpSpPr>
              <p:cNvPr id="21" name="Gruppo 20">
                <a:extLst>
                  <a:ext uri="{FF2B5EF4-FFF2-40B4-BE49-F238E27FC236}">
                    <a16:creationId xmlns:a16="http://schemas.microsoft.com/office/drawing/2014/main" id="{55E6DF63-48E1-47B2-9F58-2F82CAA5A130}"/>
                  </a:ext>
                </a:extLst>
              </p:cNvPr>
              <p:cNvGrpSpPr/>
              <p:nvPr userDrawn="1"/>
            </p:nvGrpSpPr>
            <p:grpSpPr>
              <a:xfrm>
                <a:off x="471006" y="3580423"/>
                <a:ext cx="3437110" cy="822960"/>
                <a:chOff x="187301" y="3909453"/>
                <a:chExt cx="3437110" cy="822960"/>
              </a:xfrm>
            </p:grpSpPr>
            <p:pic>
              <p:nvPicPr>
                <p:cNvPr id="15" name="Picture 27">
                  <a:extLst>
                    <a:ext uri="{FF2B5EF4-FFF2-40B4-BE49-F238E27FC236}">
                      <a16:creationId xmlns:a16="http://schemas.microsoft.com/office/drawing/2014/main" id="{FD0B42A2-771A-4CEB-A907-CD74CBC2BAA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7301" y="3909453"/>
                  <a:ext cx="1645921" cy="822960"/>
                </a:xfrm>
                <a:prstGeom prst="rect">
                  <a:avLst/>
                </a:prstGeom>
              </p:spPr>
            </p:pic>
            <p:pic>
              <p:nvPicPr>
                <p:cNvPr id="12" name="Picture 29">
                  <a:extLst>
                    <a:ext uri="{FF2B5EF4-FFF2-40B4-BE49-F238E27FC236}">
                      <a16:creationId xmlns:a16="http://schemas.microsoft.com/office/drawing/2014/main" id="{64DFAE2D-0DE8-439A-A17F-FDDC943C4D9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78491" y="3909453"/>
                  <a:ext cx="1645920" cy="82296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3D2BA65-0161-4F68-9519-CB3F72DE9660}"/>
                </a:ext>
              </a:extLst>
            </p:cNvPr>
            <p:cNvGrpSpPr/>
            <p:nvPr userDrawn="1"/>
          </p:nvGrpSpPr>
          <p:grpSpPr>
            <a:xfrm>
              <a:off x="651487" y="490334"/>
              <a:ext cx="3076148" cy="2575333"/>
              <a:chOff x="651487" y="490334"/>
              <a:chExt cx="3076148" cy="2575333"/>
            </a:xfrm>
          </p:grpSpPr>
          <p:pic>
            <p:nvPicPr>
              <p:cNvPr id="6" name="Picture 11">
                <a:extLst>
                  <a:ext uri="{FF2B5EF4-FFF2-40B4-BE49-F238E27FC236}">
                    <a16:creationId xmlns:a16="http://schemas.microsoft.com/office/drawing/2014/main" id="{0A3D9624-4B22-4D62-8973-0B440FF1959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4025" y="490334"/>
                <a:ext cx="2871072" cy="1280160"/>
              </a:xfrm>
              <a:prstGeom prst="rect">
                <a:avLst/>
              </a:prstGeom>
            </p:spPr>
          </p:pic>
          <p:pic>
            <p:nvPicPr>
              <p:cNvPr id="7" name="Picture 21">
                <a:extLst>
                  <a:ext uri="{FF2B5EF4-FFF2-40B4-BE49-F238E27FC236}">
                    <a16:creationId xmlns:a16="http://schemas.microsoft.com/office/drawing/2014/main" id="{B61EC9F7-E26D-49EC-A1A1-64EE2D5EC90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1487" y="1187822"/>
                <a:ext cx="3076148" cy="1371600"/>
              </a:xfrm>
              <a:prstGeom prst="rect">
                <a:avLst/>
              </a:prstGeom>
            </p:spPr>
          </p:pic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F5CB2F83-7B8C-4070-A18F-39B975D070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4"/>
              <a:stretch>
                <a:fillRect/>
              </a:stretch>
            </p:blipFill>
            <p:spPr>
              <a:xfrm>
                <a:off x="1183721" y="2059827"/>
                <a:ext cx="2011680" cy="100584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090507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521823"/>
            <a:ext cx="11277600" cy="43760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71237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894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8" r:id="rId1"/>
    <p:sldLayoutId id="2147484522" r:id="rId2"/>
    <p:sldLayoutId id="2147484529" r:id="rId3"/>
    <p:sldLayoutId id="2147484511" r:id="rId4"/>
    <p:sldLayoutId id="2147484513" r:id="rId5"/>
    <p:sldLayoutId id="2147484523" r:id="rId6"/>
    <p:sldLayoutId id="2147484530" r:id="rId7"/>
    <p:sldLayoutId id="2147484532" r:id="rId8"/>
    <p:sldLayoutId id="2147484533" r:id="rId9"/>
    <p:sldLayoutId id="2147484534" r:id="rId10"/>
    <p:sldLayoutId id="2147484519" r:id="rId11"/>
    <p:sldLayoutId id="2147484520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</p:sldLayoutIdLst>
  <p:hf sldNum="0" hdr="0" ftr="0" dt="0"/>
  <p:txStyles>
    <p:titleStyle>
      <a:lvl1pPr marL="0" indent="0" algn="l" defTabSz="914132" rtl="0" eaLnBrk="1" latinLnBrk="0" hangingPunct="1">
        <a:lnSpc>
          <a:spcPct val="90000"/>
        </a:lnSpc>
        <a:spcBef>
          <a:spcPct val="0"/>
        </a:spcBef>
        <a:buFont typeface="Arial" charset="0"/>
        <a:buNone/>
        <a:defRPr lang="en-US" sz="4400" b="1" i="0" kern="1200" spc="-100" baseline="0">
          <a:solidFill>
            <a:schemeClr val="bg1"/>
          </a:solidFill>
          <a:latin typeface="+mj-lt"/>
          <a:ea typeface="Segoe UI Semibold" charset="0"/>
          <a:cs typeface="Segoe UI Semibold" charset="0"/>
        </a:defRPr>
      </a:lvl1pPr>
    </p:titleStyle>
    <p:bodyStyle>
      <a:lvl1pPr marL="0" indent="0" algn="l" defTabSz="914132" rtl="0" eaLnBrk="1" latinLnBrk="0" hangingPunct="1">
        <a:lnSpc>
          <a:spcPct val="110000"/>
        </a:lnSpc>
        <a:spcBef>
          <a:spcPts val="1200"/>
        </a:spcBef>
        <a:spcAft>
          <a:spcPts val="600"/>
        </a:spcAft>
        <a:buClr>
          <a:schemeClr val="bg1"/>
        </a:buClr>
        <a:buSzPct val="120000"/>
        <a:buFontTx/>
        <a:buNone/>
        <a:defRPr lang="en-US" sz="2000" b="1" i="0" kern="1200" dirty="0" smtClean="0">
          <a:solidFill>
            <a:schemeClr val="accent2"/>
          </a:solidFill>
          <a:effectLst/>
          <a:latin typeface="Segoe UI Semibold" charset="0"/>
          <a:ea typeface="Segoe UI Semibold" charset="0"/>
          <a:cs typeface="Segoe UI Semibold" charset="0"/>
        </a:defRPr>
      </a:lvl1pPr>
      <a:lvl2pPr marL="0" indent="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10000"/>
        <a:buFont typeface="Arial" charset="0"/>
        <a:buNone/>
        <a:defRPr lang="en-US" sz="20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2pPr>
      <a:lvl3pPr marL="288925" indent="-22225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20000"/>
        <a:buFont typeface="Arial" charset="0"/>
        <a:buChar char="•"/>
        <a:defRPr lang="en-US" sz="18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3pPr>
      <a:lvl4pPr marL="631825" indent="-182880" algn="l" defTabSz="91413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charset="0"/>
        <a:buChar char="•"/>
        <a:tabLst/>
        <a:defRPr lang="en-US" sz="1600" b="0" i="0" kern="1200" dirty="0" smtClean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4pPr>
      <a:lvl5pPr marL="1254125" indent="-194310" algn="l" defTabSz="914132" rtl="0" eaLnBrk="1" latinLnBrk="0" hangingPunct="1">
        <a:lnSpc>
          <a:spcPct val="100000"/>
        </a:lnSpc>
        <a:spcBef>
          <a:spcPts val="500"/>
        </a:spcBef>
        <a:buClr>
          <a:schemeClr val="bg2"/>
        </a:buClr>
        <a:buFont typeface="Arial"/>
        <a:buChar char="•"/>
        <a:defRPr lang="en-US" sz="1400" b="0" i="0" kern="1200" dirty="0">
          <a:solidFill>
            <a:schemeClr val="tx1"/>
          </a:solidFill>
          <a:effectLst/>
          <a:latin typeface="Segoe UI" charset="0"/>
          <a:ea typeface="Segoe UI" charset="0"/>
          <a:cs typeface="Segoe UI" charset="0"/>
        </a:defRPr>
      </a:lvl5pPr>
      <a:lvl6pPr marL="1965221" indent="-228533" algn="l" defTabSz="914132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6pPr>
      <a:lvl7pPr marL="2970926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92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57" indent="-228533" algn="l" defTabSz="9141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5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7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62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28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9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59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24" algn="l" defTabSz="9141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C35EA4"/>
          </p15:clr>
        </p15:guide>
        <p15:guide id="2" pos="739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3840">
          <p15:clr>
            <a:srgbClr val="F26B43"/>
          </p15:clr>
        </p15:guide>
        <p15:guide id="7" pos="744">
          <p15:clr>
            <a:srgbClr val="C35EA4"/>
          </p15:clr>
        </p15:guide>
        <p15:guide id="8" pos="1176">
          <p15:clr>
            <a:srgbClr val="C35EA4"/>
          </p15:clr>
        </p15:guide>
        <p15:guide id="10" pos="1632">
          <p15:clr>
            <a:srgbClr val="C35EA4"/>
          </p15:clr>
        </p15:guide>
        <p15:guide id="13" pos="2520">
          <p15:clr>
            <a:srgbClr val="C35EA4"/>
          </p15:clr>
        </p15:guide>
        <p15:guide id="15" pos="2952">
          <p15:clr>
            <a:srgbClr val="C35EA4"/>
          </p15:clr>
        </p15:guide>
        <p15:guide id="16" pos="3408">
          <p15:clr>
            <a:srgbClr val="C35EA4"/>
          </p15:clr>
        </p15:guide>
        <p15:guide id="20" pos="4296">
          <p15:clr>
            <a:srgbClr val="C35EA4"/>
          </p15:clr>
        </p15:guide>
        <p15:guide id="22" pos="4728">
          <p15:clr>
            <a:srgbClr val="C35EA4"/>
          </p15:clr>
        </p15:guide>
        <p15:guide id="23" pos="5184">
          <p15:clr>
            <a:srgbClr val="C35EA4"/>
          </p15:clr>
        </p15:guide>
        <p15:guide id="24" pos="5616">
          <p15:clr>
            <a:srgbClr val="C35EA4"/>
          </p15:clr>
        </p15:guide>
        <p15:guide id="25" pos="6048">
          <p15:clr>
            <a:srgbClr val="C35EA4"/>
          </p15:clr>
        </p15:guide>
        <p15:guide id="28" pos="6504">
          <p15:clr>
            <a:srgbClr val="C35EA4"/>
          </p15:clr>
        </p15:guide>
        <p15:guide id="30" pos="6936">
          <p15:clr>
            <a:srgbClr val="C35EA4"/>
          </p15:clr>
        </p15:guide>
        <p15:guide id="32" pos="2064">
          <p15:clr>
            <a:srgbClr val="C35EA4"/>
          </p15:clr>
        </p15:guide>
        <p15:guide id="33" pos="3840">
          <p15:clr>
            <a:srgbClr val="C35EA4"/>
          </p15:clr>
        </p15:guide>
        <p15:guide id="38" orient="horz" pos="744">
          <p15:clr>
            <a:srgbClr val="F26B43"/>
          </p15:clr>
        </p15:guide>
        <p15:guide id="40" orient="horz" pos="1176">
          <p15:clr>
            <a:srgbClr val="F26B43"/>
          </p15:clr>
        </p15:guide>
        <p15:guide id="41" orient="horz" pos="1632">
          <p15:clr>
            <a:srgbClr val="F26B43"/>
          </p15:clr>
        </p15:guide>
        <p15:guide id="42" orient="horz" pos="2064">
          <p15:clr>
            <a:srgbClr val="F26B43"/>
          </p15:clr>
        </p15:guide>
        <p15:guide id="45" orient="horz" pos="2520">
          <p15:clr>
            <a:srgbClr val="F26B43"/>
          </p15:clr>
        </p15:guide>
        <p15:guide id="46" orient="horz" pos="2952">
          <p15:clr>
            <a:srgbClr val="F26B43"/>
          </p15:clr>
        </p15:guide>
        <p15:guide id="47" orient="horz" pos="4272">
          <p15:clr>
            <a:srgbClr val="F26B43"/>
          </p15:clr>
        </p15:guide>
        <p15:guide id="48" orient="horz" pos="33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2.xml"/><Relationship Id="rId7" Type="http://schemas.openxmlformats.org/officeDocument/2006/relationships/image" Target="../media/image62.emf"/><Relationship Id="rId12" Type="http://schemas.openxmlformats.org/officeDocument/2006/relationships/image" Target="../media/image6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66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65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6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www.microsoft.com/en-us/research/project/personality-chat/" TargetMode="Externa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25.png"/><Relationship Id="rId7" Type="http://schemas.openxmlformats.org/officeDocument/2006/relationships/image" Target="../media/image29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3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11" Type="http://schemas.openxmlformats.org/officeDocument/2006/relationships/image" Target="../media/image38.emf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emf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hyperlink" Target="https://docs.botframework.com/en-us/restapi/directline3" TargetMode="External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hyperlink" Target="https://docs.botframework.com/en-us/restapi/directline3/swagger.json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3.png"/><Relationship Id="rId11" Type="http://schemas.openxmlformats.org/officeDocument/2006/relationships/image" Target="../media/image58.svg"/><Relationship Id="rId5" Type="http://schemas.openxmlformats.org/officeDocument/2006/relationships/image" Target="../media/image52.sv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5022D7F-653A-494F-A715-E08A3E56C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5400" dirty="0">
                <a:cs typeface="Segoe UI Semibold"/>
              </a:rPr>
              <a:t>From 0 to Conversational AI with Microsoft Azure</a:t>
            </a:r>
            <a:endParaRPr lang="it-IT" sz="54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A553D1E-D171-474C-ADAF-53615532ADF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199" y="5372664"/>
            <a:ext cx="5638801" cy="422162"/>
          </a:xfrm>
        </p:spPr>
        <p:txBody>
          <a:bodyPr/>
          <a:lstStyle/>
          <a:p>
            <a:r>
              <a:rPr lang="en-US"/>
              <a:t>Riccardo Cappello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B92901A-2CD4-4C73-AA91-5691EDFBC4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200" y="5854318"/>
            <a:ext cx="5638800" cy="486933"/>
          </a:xfrm>
        </p:spPr>
        <p:txBody>
          <a:bodyPr anchor="t"/>
          <a:lstStyle/>
          <a:p>
            <a:pPr>
              <a:lnSpc>
                <a:spcPct val="50000"/>
              </a:lnSpc>
            </a:pPr>
            <a:r>
              <a:rPr lang="en-US">
                <a:solidFill>
                  <a:schemeClr val="accent4"/>
                </a:solidFill>
              </a:rPr>
              <a:t>Senior ICS Consultant @ Insight</a:t>
            </a:r>
          </a:p>
          <a:p>
            <a:pPr>
              <a:lnSpc>
                <a:spcPct val="50000"/>
              </a:lnSpc>
            </a:pPr>
            <a:r>
              <a:rPr lang="en-US">
                <a:solidFill>
                  <a:schemeClr val="accent4"/>
                </a:solidFill>
              </a:rPr>
              <a:t>Microsoft Azure MVP</a:t>
            </a:r>
          </a:p>
          <a:p>
            <a:pPr>
              <a:lnSpc>
                <a:spcPct val="50000"/>
              </a:lnSpc>
            </a:pPr>
            <a:r>
              <a:rPr lang="en-US">
                <a:solidFill>
                  <a:schemeClr val="accent4"/>
                </a:solidFill>
              </a:rPr>
              <a:t>Intel Software Innovator</a:t>
            </a:r>
          </a:p>
        </p:txBody>
      </p:sp>
      <p:pic>
        <p:nvPicPr>
          <p:cNvPr id="11" name="Picture 2" descr="https://software.intel.com/sites/default/files/managed/9f/d5/Intel%C2%AE%20Software%20Innovator%20Program%20%20%20Overview%20%20%20Intel%C2%AE%20Developer%20Zone.png">
            <a:extLst>
              <a:ext uri="{FF2B5EF4-FFF2-40B4-BE49-F238E27FC236}">
                <a16:creationId xmlns:a16="http://schemas.microsoft.com/office/drawing/2014/main" id="{57DAC40C-9DAD-4CD2-91AF-CFC45022B1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6812" y="4763990"/>
            <a:ext cx="1102895" cy="1336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magine 3">
            <a:extLst>
              <a:ext uri="{FF2B5EF4-FFF2-40B4-BE49-F238E27FC236}">
                <a16:creationId xmlns:a16="http://schemas.microsoft.com/office/drawing/2014/main" id="{BF548205-16DC-48F5-914D-66175EB482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91783" y="4882718"/>
            <a:ext cx="785828" cy="123794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17E0F127-B67E-40B2-AF9E-8FC6092214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92865" y="6239393"/>
            <a:ext cx="1797836" cy="547167"/>
          </a:xfrm>
          <a:prstGeom prst="rect">
            <a:avLst/>
          </a:prstGeom>
        </p:spPr>
      </p:pic>
      <p:pic>
        <p:nvPicPr>
          <p:cNvPr id="17" name="Picture 16" descr="A drawing of a face&#10;&#10;Description automatically generated">
            <a:extLst>
              <a:ext uri="{FF2B5EF4-FFF2-40B4-BE49-F238E27FC236}">
                <a16:creationId xmlns:a16="http://schemas.microsoft.com/office/drawing/2014/main" id="{7E0D60A3-F1A5-4328-A668-565A4781E2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3164" y="6253205"/>
            <a:ext cx="1367216" cy="519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3269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57B20E-FC47-4C1F-B31E-2E2961446C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886891"/>
            <a:ext cx="11277599" cy="712379"/>
          </a:xfrm>
        </p:spPr>
        <p:txBody>
          <a:bodyPr>
            <a:normAutofit fontScale="90000"/>
          </a:bodyPr>
          <a:lstStyle/>
          <a:p>
            <a:r>
              <a:rPr lang="en-US" sz="4657"/>
              <a:t>DEMO</a:t>
            </a:r>
            <a:br>
              <a:rPr lang="en-US" sz="4657"/>
            </a:br>
            <a:r>
              <a:rPr lang="en-US" sz="4657"/>
              <a:t>Create the first bot using Visual Studio</a:t>
            </a:r>
          </a:p>
        </p:txBody>
      </p:sp>
    </p:spTree>
    <p:extLst>
      <p:ext uri="{BB962C8B-B14F-4D97-AF65-F5344CB8AC3E}">
        <p14:creationId xmlns:p14="http://schemas.microsoft.com/office/powerpoint/2010/main" val="4948295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CD39E05A-4B5D-4E6D-A100-BB8566EFDC4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82" y="164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CD39E05A-4B5D-4E6D-A100-BB8566EFDC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82" y="164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50">
            <a:extLst>
              <a:ext uri="{FF2B5EF4-FFF2-40B4-BE49-F238E27FC236}">
                <a16:creationId xmlns:a16="http://schemas.microsoft.com/office/drawing/2014/main" id="{7634DD74-AF05-4F04-BC6D-2882BFA6F63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69" t="12423" r="-1" b="-271"/>
          <a:stretch/>
        </p:blipFill>
        <p:spPr>
          <a:xfrm>
            <a:off x="5018840" y="2835745"/>
            <a:ext cx="2159967" cy="2685347"/>
          </a:xfrm>
          <a:custGeom>
            <a:avLst/>
            <a:gdLst>
              <a:gd name="connsiteX0" fmla="*/ 0 w 2160000"/>
              <a:gd name="connsiteY0" fmla="*/ 0 h 2685388"/>
              <a:gd name="connsiteX1" fmla="*/ 2160000 w 2160000"/>
              <a:gd name="connsiteY1" fmla="*/ 0 h 2685388"/>
              <a:gd name="connsiteX2" fmla="*/ 2160000 w 2160000"/>
              <a:gd name="connsiteY2" fmla="*/ 2685388 h 2685388"/>
              <a:gd name="connsiteX3" fmla="*/ 0 w 2160000"/>
              <a:gd name="connsiteY3" fmla="*/ 2685388 h 2685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000" h="2685388">
                <a:moveTo>
                  <a:pt x="0" y="0"/>
                </a:moveTo>
                <a:lnTo>
                  <a:pt x="2160000" y="0"/>
                </a:lnTo>
                <a:lnTo>
                  <a:pt x="2160000" y="2685388"/>
                </a:lnTo>
                <a:lnTo>
                  <a:pt x="0" y="2685388"/>
                </a:lnTo>
                <a:close/>
              </a:path>
            </a:pathLst>
          </a:custGeom>
          <a:solidFill>
            <a:srgbClr val="F1F1F1"/>
          </a:solidFill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4D6F5AA3-1E55-4CBB-AF6F-3B51B62FC15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61" t="-284" r="-113" b="-1"/>
          <a:stretch/>
        </p:blipFill>
        <p:spPr>
          <a:xfrm>
            <a:off x="588347" y="2835746"/>
            <a:ext cx="2159967" cy="1612039"/>
          </a:xfrm>
          <a:custGeom>
            <a:avLst/>
            <a:gdLst>
              <a:gd name="connsiteX0" fmla="*/ 0 w 2160000"/>
              <a:gd name="connsiteY0" fmla="*/ 0 h 2685388"/>
              <a:gd name="connsiteX1" fmla="*/ 2160000 w 2160000"/>
              <a:gd name="connsiteY1" fmla="*/ 0 h 2685388"/>
              <a:gd name="connsiteX2" fmla="*/ 2160000 w 2160000"/>
              <a:gd name="connsiteY2" fmla="*/ 2685388 h 2685388"/>
              <a:gd name="connsiteX3" fmla="*/ 0 w 2160000"/>
              <a:gd name="connsiteY3" fmla="*/ 2685388 h 2685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000" h="2685388">
                <a:moveTo>
                  <a:pt x="0" y="0"/>
                </a:moveTo>
                <a:lnTo>
                  <a:pt x="2160000" y="0"/>
                </a:lnTo>
                <a:lnTo>
                  <a:pt x="2160000" y="2685388"/>
                </a:lnTo>
                <a:lnTo>
                  <a:pt x="0" y="2685388"/>
                </a:lnTo>
                <a:close/>
              </a:path>
            </a:pathLst>
          </a:cu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58CE7A4-5F8D-49BE-8110-C10A109DD2D1}"/>
              </a:ext>
            </a:extLst>
          </p:cNvPr>
          <p:cNvSpPr/>
          <p:nvPr/>
        </p:nvSpPr>
        <p:spPr bwMode="auto">
          <a:xfrm>
            <a:off x="985598" y="1219234"/>
            <a:ext cx="10623706" cy="806438"/>
          </a:xfrm>
          <a:prstGeom prst="rect">
            <a:avLst/>
          </a:prstGeom>
          <a:solidFill>
            <a:schemeClr val="tx1">
              <a:lumMod val="75000"/>
              <a:alpha val="49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5992" tIns="146302" rIns="182878" bIns="1463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>
                <a:solidFill>
                  <a:srgbClr val="E3008C"/>
                </a:solidFill>
                <a:latin typeface="Segoe UI Semibold"/>
                <a:ea typeface="Segoe UI" pitchFamily="34" charset="0"/>
                <a:cs typeface="Segoe UI" pitchFamily="34" charset="0"/>
              </a:rPr>
              <a:t>Open Framework Multiple Canvas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47481A1-63BA-4311-834E-4B64CE1A6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aptive Card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4517110-E530-45A1-98ED-666906849740}"/>
              </a:ext>
            </a:extLst>
          </p:cNvPr>
          <p:cNvSpPr/>
          <p:nvPr/>
        </p:nvSpPr>
        <p:spPr bwMode="auto">
          <a:xfrm>
            <a:off x="588347" y="1219234"/>
            <a:ext cx="806438" cy="806438"/>
          </a:xfrm>
          <a:prstGeom prst="ellipse">
            <a:avLst/>
          </a:prstGeom>
          <a:solidFill>
            <a:schemeClr val="tx1"/>
          </a:solidFill>
          <a:ln w="635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6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71F385F-1D56-4364-9A6D-DFAF82118795}"/>
              </a:ext>
            </a:extLst>
          </p:cNvPr>
          <p:cNvSpPr/>
          <p:nvPr/>
        </p:nvSpPr>
        <p:spPr bwMode="auto">
          <a:xfrm>
            <a:off x="662894" y="1293781"/>
            <a:ext cx="657344" cy="657344"/>
          </a:xfrm>
          <a:prstGeom prst="ellipse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6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err="1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Move_E7C2" title="Icon of four arrows pointing away from eachother">
            <a:extLst>
              <a:ext uri="{FF2B5EF4-FFF2-40B4-BE49-F238E27FC236}">
                <a16:creationId xmlns:a16="http://schemas.microsoft.com/office/drawing/2014/main" id="{C4EE199D-1839-40B9-90D7-48E303D3F9B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50523" y="1381350"/>
            <a:ext cx="482086" cy="482205"/>
          </a:xfrm>
          <a:custGeom>
            <a:avLst/>
            <a:gdLst>
              <a:gd name="T0" fmla="*/ 736 w 3999"/>
              <a:gd name="T1" fmla="*/ 2737 h 4000"/>
              <a:gd name="T2" fmla="*/ 0 w 3999"/>
              <a:gd name="T3" fmla="*/ 2001 h 4000"/>
              <a:gd name="T4" fmla="*/ 736 w 3999"/>
              <a:gd name="T5" fmla="*/ 1264 h 4000"/>
              <a:gd name="T6" fmla="*/ 86 w 3999"/>
              <a:gd name="T7" fmla="*/ 2001 h 4000"/>
              <a:gd name="T8" fmla="*/ 1264 w 3999"/>
              <a:gd name="T9" fmla="*/ 2001 h 4000"/>
              <a:gd name="T10" fmla="*/ 1264 w 3999"/>
              <a:gd name="T11" fmla="*/ 3265 h 4000"/>
              <a:gd name="T12" fmla="*/ 2000 w 3999"/>
              <a:gd name="T13" fmla="*/ 4000 h 4000"/>
              <a:gd name="T14" fmla="*/ 2735 w 3999"/>
              <a:gd name="T15" fmla="*/ 3265 h 4000"/>
              <a:gd name="T16" fmla="*/ 2000 w 3999"/>
              <a:gd name="T17" fmla="*/ 3915 h 4000"/>
              <a:gd name="T18" fmla="*/ 2000 w 3999"/>
              <a:gd name="T19" fmla="*/ 2737 h 4000"/>
              <a:gd name="T20" fmla="*/ 3264 w 3999"/>
              <a:gd name="T21" fmla="*/ 2737 h 4000"/>
              <a:gd name="T22" fmla="*/ 3999 w 3999"/>
              <a:gd name="T23" fmla="*/ 2001 h 4000"/>
              <a:gd name="T24" fmla="*/ 3264 w 3999"/>
              <a:gd name="T25" fmla="*/ 1264 h 4000"/>
              <a:gd name="T26" fmla="*/ 3913 w 3999"/>
              <a:gd name="T27" fmla="*/ 2001 h 4000"/>
              <a:gd name="T28" fmla="*/ 2735 w 3999"/>
              <a:gd name="T29" fmla="*/ 2001 h 4000"/>
              <a:gd name="T30" fmla="*/ 2735 w 3999"/>
              <a:gd name="T31" fmla="*/ 736 h 4000"/>
              <a:gd name="T32" fmla="*/ 2000 w 3999"/>
              <a:gd name="T33" fmla="*/ 0 h 4000"/>
              <a:gd name="T34" fmla="*/ 1264 w 3999"/>
              <a:gd name="T35" fmla="*/ 736 h 4000"/>
              <a:gd name="T36" fmla="*/ 2000 w 3999"/>
              <a:gd name="T37" fmla="*/ 86 h 4000"/>
              <a:gd name="T38" fmla="*/ 2000 w 3999"/>
              <a:gd name="T39" fmla="*/ 1264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999" h="4000">
                <a:moveTo>
                  <a:pt x="736" y="2737"/>
                </a:moveTo>
                <a:lnTo>
                  <a:pt x="0" y="2001"/>
                </a:lnTo>
                <a:lnTo>
                  <a:pt x="736" y="1264"/>
                </a:lnTo>
                <a:moveTo>
                  <a:pt x="86" y="2001"/>
                </a:moveTo>
                <a:lnTo>
                  <a:pt x="1264" y="2001"/>
                </a:lnTo>
                <a:moveTo>
                  <a:pt x="1264" y="3265"/>
                </a:moveTo>
                <a:lnTo>
                  <a:pt x="2000" y="4000"/>
                </a:lnTo>
                <a:lnTo>
                  <a:pt x="2735" y="3265"/>
                </a:lnTo>
                <a:moveTo>
                  <a:pt x="2000" y="3915"/>
                </a:moveTo>
                <a:lnTo>
                  <a:pt x="2000" y="2737"/>
                </a:lnTo>
                <a:moveTo>
                  <a:pt x="3264" y="2737"/>
                </a:moveTo>
                <a:lnTo>
                  <a:pt x="3999" y="2001"/>
                </a:lnTo>
                <a:lnTo>
                  <a:pt x="3264" y="1264"/>
                </a:lnTo>
                <a:moveTo>
                  <a:pt x="3913" y="2001"/>
                </a:moveTo>
                <a:lnTo>
                  <a:pt x="2735" y="2001"/>
                </a:lnTo>
                <a:moveTo>
                  <a:pt x="2735" y="736"/>
                </a:moveTo>
                <a:lnTo>
                  <a:pt x="2000" y="0"/>
                </a:lnTo>
                <a:lnTo>
                  <a:pt x="1264" y="736"/>
                </a:lnTo>
                <a:moveTo>
                  <a:pt x="2000" y="86"/>
                </a:moveTo>
                <a:lnTo>
                  <a:pt x="2000" y="1264"/>
                </a:lnTo>
              </a:path>
            </a:pathLst>
          </a:custGeom>
          <a:noFill/>
          <a:ln w="15875" cap="sq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9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latin typeface="Segoe U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3299C19-D92C-44F1-916F-56B7D42CE706}"/>
              </a:ext>
            </a:extLst>
          </p:cNvPr>
          <p:cNvSpPr txBox="1"/>
          <p:nvPr/>
        </p:nvSpPr>
        <p:spPr>
          <a:xfrm>
            <a:off x="642347" y="2233671"/>
            <a:ext cx="2051969" cy="39407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pPr algn="ctr" defTabSz="734260">
              <a:defRPr/>
            </a:pPr>
            <a:r>
              <a:rPr lang="en-US" sz="2000">
                <a:solidFill>
                  <a:srgbClr val="1A1A1A"/>
                </a:solidFill>
                <a:latin typeface="Segoe UI Semibold"/>
              </a:rPr>
              <a:t>Notific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5E66EDF-C0AB-44E9-9BCE-214ED8DA19FF}"/>
              </a:ext>
            </a:extLst>
          </p:cNvPr>
          <p:cNvSpPr txBox="1"/>
          <p:nvPr/>
        </p:nvSpPr>
        <p:spPr>
          <a:xfrm>
            <a:off x="2857593" y="2233671"/>
            <a:ext cx="2051969" cy="39407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pPr algn="ctr" defTabSz="734260">
              <a:defRPr/>
            </a:pPr>
            <a:r>
              <a:rPr lang="en-US" sz="2000">
                <a:solidFill>
                  <a:srgbClr val="1A1A1A"/>
                </a:solidFill>
                <a:latin typeface="Segoe UI Semibold"/>
              </a:rPr>
              <a:t>Microsoft Team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6AC1131-00FE-4A99-A724-D8938B9027AC}"/>
              </a:ext>
            </a:extLst>
          </p:cNvPr>
          <p:cNvSpPr txBox="1"/>
          <p:nvPr/>
        </p:nvSpPr>
        <p:spPr>
          <a:xfrm>
            <a:off x="5072840" y="2233671"/>
            <a:ext cx="2051969" cy="39407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pPr algn="ctr" defTabSz="734260">
              <a:defRPr/>
            </a:pPr>
            <a:r>
              <a:rPr lang="en-US" sz="2000">
                <a:solidFill>
                  <a:srgbClr val="1A1A1A"/>
                </a:solidFill>
                <a:latin typeface="Segoe UI Semibold"/>
              </a:rPr>
              <a:t>Skyp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34515A1-A7E5-4119-84E0-BEF11DDAC4BC}"/>
              </a:ext>
            </a:extLst>
          </p:cNvPr>
          <p:cNvSpPr txBox="1"/>
          <p:nvPr/>
        </p:nvSpPr>
        <p:spPr>
          <a:xfrm>
            <a:off x="7288087" y="2233671"/>
            <a:ext cx="2051969" cy="39407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pPr algn="ctr" defTabSz="734260">
              <a:defRPr/>
            </a:pPr>
            <a:r>
              <a:rPr lang="en-US" sz="2000">
                <a:solidFill>
                  <a:srgbClr val="1A1A1A"/>
                </a:solidFill>
                <a:latin typeface="Segoe UI Semibold"/>
              </a:rPr>
              <a:t>Androi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9EF23F9-B63F-4279-8654-25BAEA45ED57}"/>
              </a:ext>
            </a:extLst>
          </p:cNvPr>
          <p:cNvSpPr txBox="1"/>
          <p:nvPr/>
        </p:nvSpPr>
        <p:spPr>
          <a:xfrm>
            <a:off x="9503335" y="2233671"/>
            <a:ext cx="2051969" cy="39407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pPr algn="ctr" defTabSz="734260">
              <a:defRPr/>
            </a:pPr>
            <a:r>
              <a:rPr lang="en-US" sz="2000">
                <a:solidFill>
                  <a:srgbClr val="1A1A1A"/>
                </a:solidFill>
                <a:latin typeface="Segoe UI Semibold"/>
              </a:rPr>
              <a:t>iOS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1FC8DACD-6E89-4CE1-96FB-D15811EE02C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529" r="5952"/>
          <a:stretch/>
        </p:blipFill>
        <p:spPr>
          <a:xfrm>
            <a:off x="7234089" y="2835746"/>
            <a:ext cx="2159966" cy="1612039"/>
          </a:xfrm>
          <a:custGeom>
            <a:avLst/>
            <a:gdLst>
              <a:gd name="connsiteX0" fmla="*/ 0 w 2160000"/>
              <a:gd name="connsiteY0" fmla="*/ 0 h 2685388"/>
              <a:gd name="connsiteX1" fmla="*/ 2160000 w 2160000"/>
              <a:gd name="connsiteY1" fmla="*/ 0 h 2685388"/>
              <a:gd name="connsiteX2" fmla="*/ 2160000 w 2160000"/>
              <a:gd name="connsiteY2" fmla="*/ 2685388 h 2685388"/>
              <a:gd name="connsiteX3" fmla="*/ 0 w 2160000"/>
              <a:gd name="connsiteY3" fmla="*/ 2685388 h 2685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000" h="2685388">
                <a:moveTo>
                  <a:pt x="0" y="0"/>
                </a:moveTo>
                <a:lnTo>
                  <a:pt x="2160000" y="0"/>
                </a:lnTo>
                <a:lnTo>
                  <a:pt x="2160000" y="2685388"/>
                </a:lnTo>
                <a:lnTo>
                  <a:pt x="0" y="2685388"/>
                </a:lnTo>
                <a:close/>
              </a:path>
            </a:pathLst>
          </a:custGeom>
          <a:ln w="3175">
            <a:solidFill>
              <a:schemeClr val="bg1">
                <a:lumMod val="75000"/>
              </a:schemeClr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FE4BB71E-8EC5-480D-8975-4DDF5CE8319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767" t="1" r="7227" b="-1"/>
          <a:stretch/>
        </p:blipFill>
        <p:spPr>
          <a:xfrm>
            <a:off x="9449339" y="2835746"/>
            <a:ext cx="2159966" cy="1612039"/>
          </a:xfrm>
          <a:custGeom>
            <a:avLst/>
            <a:gdLst>
              <a:gd name="connsiteX0" fmla="*/ 0 w 2159999"/>
              <a:gd name="connsiteY0" fmla="*/ 0 h 1612064"/>
              <a:gd name="connsiteX1" fmla="*/ 2159999 w 2159999"/>
              <a:gd name="connsiteY1" fmla="*/ 0 h 1612064"/>
              <a:gd name="connsiteX2" fmla="*/ 2159999 w 2159999"/>
              <a:gd name="connsiteY2" fmla="*/ 1612064 h 1612064"/>
              <a:gd name="connsiteX3" fmla="*/ 0 w 2159999"/>
              <a:gd name="connsiteY3" fmla="*/ 1612064 h 1612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9999" h="1612064">
                <a:moveTo>
                  <a:pt x="0" y="0"/>
                </a:moveTo>
                <a:lnTo>
                  <a:pt x="2159999" y="0"/>
                </a:lnTo>
                <a:lnTo>
                  <a:pt x="2159999" y="1612064"/>
                </a:lnTo>
                <a:lnTo>
                  <a:pt x="0" y="1612064"/>
                </a:lnTo>
                <a:close/>
              </a:path>
            </a:pathLst>
          </a:cu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AF7E1547-ACDE-4002-873A-A89CE2CC1A4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018" t="2655" r="19135" b="3736"/>
          <a:stretch/>
        </p:blipFill>
        <p:spPr>
          <a:xfrm>
            <a:off x="2803593" y="2835746"/>
            <a:ext cx="2159967" cy="1612039"/>
          </a:xfrm>
          <a:custGeom>
            <a:avLst/>
            <a:gdLst>
              <a:gd name="connsiteX0" fmla="*/ 0 w 2160000"/>
              <a:gd name="connsiteY0" fmla="*/ 0 h 2685388"/>
              <a:gd name="connsiteX1" fmla="*/ 2160000 w 2160000"/>
              <a:gd name="connsiteY1" fmla="*/ 0 h 2685388"/>
              <a:gd name="connsiteX2" fmla="*/ 2160000 w 2160000"/>
              <a:gd name="connsiteY2" fmla="*/ 2685388 h 2685388"/>
              <a:gd name="connsiteX3" fmla="*/ 0 w 2160000"/>
              <a:gd name="connsiteY3" fmla="*/ 2685388 h 2685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000" h="2685388">
                <a:moveTo>
                  <a:pt x="0" y="0"/>
                </a:moveTo>
                <a:lnTo>
                  <a:pt x="2160000" y="0"/>
                </a:lnTo>
                <a:lnTo>
                  <a:pt x="2160000" y="2685388"/>
                </a:lnTo>
                <a:lnTo>
                  <a:pt x="0" y="2685388"/>
                </a:lnTo>
                <a:close/>
              </a:path>
            </a:pathLst>
          </a:custGeom>
          <a:ln w="3175">
            <a:solidFill>
              <a:schemeClr val="bg1">
                <a:lumMod val="75000"/>
              </a:schemeClr>
            </a:solidFill>
          </a:ln>
        </p:spPr>
      </p:pic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608C17-7E59-4ED2-8F91-71BFA1A62DDB}"/>
              </a:ext>
            </a:extLst>
          </p:cNvPr>
          <p:cNvCxnSpPr/>
          <p:nvPr/>
        </p:nvCxnSpPr>
        <p:spPr>
          <a:xfrm>
            <a:off x="1230090" y="2733972"/>
            <a:ext cx="876484" cy="0"/>
          </a:xfrm>
          <a:prstGeom prst="line">
            <a:avLst/>
          </a:prstGeom>
          <a:ln w="28575">
            <a:solidFill>
              <a:schemeClr val="accent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3AA71E8-B901-4102-93D9-C81EA729A574}"/>
              </a:ext>
            </a:extLst>
          </p:cNvPr>
          <p:cNvCxnSpPr/>
          <p:nvPr/>
        </p:nvCxnSpPr>
        <p:spPr>
          <a:xfrm>
            <a:off x="3445337" y="2733972"/>
            <a:ext cx="876484" cy="0"/>
          </a:xfrm>
          <a:prstGeom prst="line">
            <a:avLst/>
          </a:prstGeom>
          <a:ln w="28575">
            <a:solidFill>
              <a:schemeClr val="accent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6A39D49-7D03-4055-9C1E-B51324607C07}"/>
              </a:ext>
            </a:extLst>
          </p:cNvPr>
          <p:cNvCxnSpPr/>
          <p:nvPr/>
        </p:nvCxnSpPr>
        <p:spPr>
          <a:xfrm>
            <a:off x="5660585" y="2733972"/>
            <a:ext cx="876484" cy="0"/>
          </a:xfrm>
          <a:prstGeom prst="line">
            <a:avLst/>
          </a:prstGeom>
          <a:ln w="28575">
            <a:solidFill>
              <a:schemeClr val="accent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7D1E418-ED75-4FC4-8AB2-B342B5A889B2}"/>
              </a:ext>
            </a:extLst>
          </p:cNvPr>
          <p:cNvCxnSpPr/>
          <p:nvPr/>
        </p:nvCxnSpPr>
        <p:spPr>
          <a:xfrm>
            <a:off x="7875830" y="2733972"/>
            <a:ext cx="876484" cy="0"/>
          </a:xfrm>
          <a:prstGeom prst="line">
            <a:avLst/>
          </a:prstGeom>
          <a:ln w="28575">
            <a:solidFill>
              <a:schemeClr val="accent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4D22E30-DAB9-4FC8-938C-04FC728DB8FD}"/>
              </a:ext>
            </a:extLst>
          </p:cNvPr>
          <p:cNvCxnSpPr/>
          <p:nvPr/>
        </p:nvCxnSpPr>
        <p:spPr>
          <a:xfrm>
            <a:off x="10091080" y="2733972"/>
            <a:ext cx="876484" cy="0"/>
          </a:xfrm>
          <a:prstGeom prst="line">
            <a:avLst/>
          </a:prstGeom>
          <a:ln w="28575">
            <a:solidFill>
              <a:schemeClr val="accent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3034C235-53A9-43A3-8738-26540A17AE15}"/>
              </a:ext>
            </a:extLst>
          </p:cNvPr>
          <p:cNvSpPr txBox="1"/>
          <p:nvPr/>
        </p:nvSpPr>
        <p:spPr>
          <a:xfrm>
            <a:off x="307528" y="6461737"/>
            <a:ext cx="103052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55">
              <a:defRPr/>
            </a:pPr>
            <a:r>
              <a:rPr lang="en-US" sz="1400">
                <a:solidFill>
                  <a:srgbClr val="1A1A1A"/>
                </a:solidFill>
                <a:latin typeface="Segoe UI"/>
              </a:rPr>
              <a:t>Bot Service Lifecycle:   Plan     |     </a:t>
            </a:r>
            <a:r>
              <a:rPr lang="en-US" sz="1400" b="1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ild</a:t>
            </a:r>
            <a:r>
              <a:rPr lang="en-US" sz="1400">
                <a:solidFill>
                  <a:srgbClr val="1A1A1A"/>
                </a:solidFill>
                <a:latin typeface="Segoe UI"/>
              </a:rPr>
              <a:t>     |     Test     |     Publish     |    Connect     |     Evaluat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99A8C7-6C48-45DF-BDE3-3B4BECEACB43}"/>
              </a:ext>
            </a:extLst>
          </p:cNvPr>
          <p:cNvCxnSpPr>
            <a:cxnSpLocks/>
          </p:cNvCxnSpPr>
          <p:nvPr/>
        </p:nvCxnSpPr>
        <p:spPr>
          <a:xfrm>
            <a:off x="4429006" y="6720654"/>
            <a:ext cx="445217" cy="0"/>
          </a:xfrm>
          <a:prstGeom prst="line">
            <a:avLst/>
          </a:prstGeom>
          <a:ln w="28575" cap="rnd">
            <a:solidFill>
              <a:schemeClr val="accent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109F6C8-E3C5-43FD-8701-8A21A2122B66}"/>
              </a:ext>
            </a:extLst>
          </p:cNvPr>
          <p:cNvCxnSpPr/>
          <p:nvPr/>
        </p:nvCxnSpPr>
        <p:spPr>
          <a:xfrm>
            <a:off x="95" y="6349956"/>
            <a:ext cx="12191813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451332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6826" y="441504"/>
            <a:ext cx="11018351" cy="553990"/>
          </a:xfrm>
        </p:spPr>
        <p:txBody>
          <a:bodyPr>
            <a:normAutofit fontScale="90000"/>
          </a:bodyPr>
          <a:lstStyle/>
          <a:p>
            <a:r>
              <a:rPr lang="en-US" err="1"/>
              <a:t>QnA</a:t>
            </a:r>
            <a:r>
              <a:rPr lang="en-US"/>
              <a:t> Mak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388D13-D749-2B46-A62C-F5D973857C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738" y="1590776"/>
            <a:ext cx="4736815" cy="3822527"/>
          </a:xfrm>
        </p:spPr>
        <p:txBody>
          <a:bodyPr>
            <a:normAutofit fontScale="85000" lnSpcReduction="10000"/>
          </a:bodyPr>
          <a:lstStyle/>
          <a:p>
            <a:endParaRPr lang="en-IN" sz="1800"/>
          </a:p>
          <a:p>
            <a:endParaRPr lang="en-IN" sz="1800"/>
          </a:p>
          <a:p>
            <a:r>
              <a:rPr lang="en-IN" sz="1800"/>
              <a:t>Based on Azure. </a:t>
            </a:r>
            <a:r>
              <a:rPr lang="en-IN" sz="1800" b="0">
                <a:latin typeface="Segoe UI" panose="020B0502040204020203" pitchFamily="34" charset="0"/>
                <a:cs typeface="Segoe UI" panose="020B0502040204020203" pitchFamily="34" charset="0"/>
              </a:rPr>
              <a:t>The data and runtime hosted in your Azure subscription</a:t>
            </a:r>
            <a:r>
              <a:rPr lang="en-IN" sz="1800"/>
              <a:t>. </a:t>
            </a:r>
          </a:p>
          <a:p>
            <a:endParaRPr lang="en-IN" sz="1800"/>
          </a:p>
          <a:p>
            <a:r>
              <a:rPr lang="en-IN" sz="1800"/>
              <a:t>Data privacy and compliance. </a:t>
            </a:r>
            <a:r>
              <a:rPr lang="en-IN" sz="1800" b="0" err="1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QnA</a:t>
            </a:r>
            <a:r>
              <a:rPr lang="en-IN" sz="1800" b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data is hosted within your Azure compliance boundary.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800"/>
          </a:p>
          <a:p>
            <a:r>
              <a:rPr lang="en-IN" sz="1800"/>
              <a:t>Azure Application Insights integration. </a:t>
            </a:r>
            <a:r>
              <a:rPr lang="en-IN" sz="1800" b="0">
                <a:latin typeface="Segoe UI" panose="020B0502040204020203" pitchFamily="34" charset="0"/>
                <a:cs typeface="Segoe UI" panose="020B0502040204020203" pitchFamily="34" charset="0"/>
              </a:rPr>
              <a:t>Helpful to get insights on how the services is being utiliz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B358B6-7B04-4DC6-8E1B-DFA4A420E8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1818" y="2522344"/>
            <a:ext cx="6090198" cy="38941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C3C2182-AF58-4B64-8FB2-E3CD63F002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9528" y="240511"/>
            <a:ext cx="5190198" cy="28161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FED5CA-1CA5-4C4F-B166-45FED0C7FEE1}"/>
              </a:ext>
            </a:extLst>
          </p:cNvPr>
          <p:cNvCxnSpPr>
            <a:cxnSpLocks/>
          </p:cNvCxnSpPr>
          <p:nvPr/>
        </p:nvCxnSpPr>
        <p:spPr>
          <a:xfrm flipV="1">
            <a:off x="499619" y="1444698"/>
            <a:ext cx="4690462" cy="15832"/>
          </a:xfrm>
          <a:prstGeom prst="line">
            <a:avLst/>
          </a:prstGeom>
          <a:ln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7879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3F75E190-63F7-ED44-AE23-A0F79115E19F}"/>
              </a:ext>
            </a:extLst>
          </p:cNvPr>
          <p:cNvSpPr/>
          <p:nvPr/>
        </p:nvSpPr>
        <p:spPr bwMode="auto">
          <a:xfrm>
            <a:off x="8930655" y="2257762"/>
            <a:ext cx="2501025" cy="3512842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solidFill>
              <a:schemeClr val="tx2">
                <a:lumMod val="2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79221" tIns="143378" rIns="179221" bIns="143378"/>
          <a:lstStyle/>
          <a:p>
            <a:pPr algn="ctr" defTabSz="913736">
              <a:lnSpc>
                <a:spcPct val="90000"/>
              </a:lnSpc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4886F1D-3260-0946-B5D9-D891C78A8A2D}"/>
              </a:ext>
            </a:extLst>
          </p:cNvPr>
          <p:cNvSpPr/>
          <p:nvPr/>
        </p:nvSpPr>
        <p:spPr bwMode="auto">
          <a:xfrm>
            <a:off x="6146450" y="2259225"/>
            <a:ext cx="2501025" cy="3512842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solidFill>
              <a:schemeClr val="tx2">
                <a:lumMod val="2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79221" tIns="143378" rIns="179221" bIns="143378"/>
          <a:lstStyle/>
          <a:p>
            <a:pPr algn="ctr" defTabSz="913736">
              <a:lnSpc>
                <a:spcPct val="90000"/>
              </a:lnSpc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AE3D1B-B6EC-9741-AF84-2EE80ADD3626}"/>
              </a:ext>
            </a:extLst>
          </p:cNvPr>
          <p:cNvSpPr/>
          <p:nvPr/>
        </p:nvSpPr>
        <p:spPr bwMode="auto">
          <a:xfrm>
            <a:off x="3360854" y="2257762"/>
            <a:ext cx="2501025" cy="3512842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solidFill>
              <a:schemeClr val="tx2">
                <a:lumMod val="2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79221" tIns="143378" rIns="179221" bIns="143378"/>
          <a:lstStyle/>
          <a:p>
            <a:pPr algn="ctr" defTabSz="913736">
              <a:lnSpc>
                <a:spcPct val="90000"/>
              </a:lnSpc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950C1EB-DEDB-4D2A-9DB9-532EBF72A1E7}"/>
              </a:ext>
            </a:extLst>
          </p:cNvPr>
          <p:cNvSpPr/>
          <p:nvPr/>
        </p:nvSpPr>
        <p:spPr bwMode="auto">
          <a:xfrm>
            <a:off x="586453" y="2265058"/>
            <a:ext cx="2501025" cy="3512842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solidFill>
              <a:schemeClr val="tx2">
                <a:lumMod val="2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79221" tIns="143378" rIns="179221" bIns="143378"/>
          <a:lstStyle/>
          <a:p>
            <a:pPr algn="ctr" defTabSz="913736">
              <a:lnSpc>
                <a:spcPct val="90000"/>
              </a:lnSpc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183599-D904-4DF0-8A58-F16E04034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348" y="457246"/>
            <a:ext cx="11018351" cy="553990"/>
          </a:xfrm>
        </p:spPr>
        <p:txBody>
          <a:bodyPr/>
          <a:lstStyle/>
          <a:p>
            <a:r>
              <a:rPr lang="en-US" sz="3600" spc="-50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 Semibold"/>
              </a:rPr>
              <a:t>Language Understanding (LUIS)</a:t>
            </a:r>
            <a:endParaRPr lang="en-US" i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8202CB-AF3D-8842-9A73-7E181BDD9E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475" y="1129426"/>
            <a:ext cx="11018351" cy="989117"/>
          </a:xfrm>
        </p:spPr>
        <p:txBody>
          <a:bodyPr/>
          <a:lstStyle/>
          <a:p>
            <a:r>
              <a:rPr lang="en-US"/>
              <a:t>Machine learning-based service to build natural language into apps, bots, and IoT devices. </a:t>
            </a:r>
            <a:br>
              <a:rPr lang="en-US"/>
            </a:br>
            <a:r>
              <a:rPr lang="en-US"/>
              <a:t>Quickly create enterprise-ready, custom models that continuously improve.</a:t>
            </a:r>
            <a:br>
              <a:rPr lang="en-US"/>
            </a:br>
            <a:endParaRPr lang="en-US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7C17FB6-7025-464F-A6F4-5C1157A568B2}"/>
              </a:ext>
            </a:extLst>
          </p:cNvPr>
          <p:cNvCxnSpPr>
            <a:cxnSpLocks/>
          </p:cNvCxnSpPr>
          <p:nvPr/>
        </p:nvCxnSpPr>
        <p:spPr>
          <a:xfrm>
            <a:off x="2363398" y="1968601"/>
            <a:ext cx="7340702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B4028E94-76BE-4583-8B01-90BC9E1CA4F3}"/>
              </a:ext>
            </a:extLst>
          </p:cNvPr>
          <p:cNvSpPr>
            <a:spLocks noChangeAspect="1"/>
          </p:cNvSpPr>
          <p:nvPr/>
        </p:nvSpPr>
        <p:spPr>
          <a:xfrm>
            <a:off x="3271163" y="4179252"/>
            <a:ext cx="2762586" cy="2004526"/>
          </a:xfrm>
          <a:prstGeom prst="rect">
            <a:avLst/>
          </a:prstGeom>
          <a:noFill/>
        </p:spPr>
        <p:txBody>
          <a:bodyPr wrap="square" lIns="182851" tIns="137139" rIns="182851" bIns="46626">
            <a:noAutofit/>
          </a:bodyPr>
          <a:lstStyle/>
          <a:p>
            <a:pPr algn="ctr" defTabSz="1043381">
              <a:lnSpc>
                <a:spcPts val="2479"/>
              </a:lnSpc>
              <a:defRPr/>
            </a:pPr>
            <a:r>
              <a:rPr lang="en-US">
                <a:solidFill>
                  <a:srgbClr val="1A1A1A"/>
                </a:solidFill>
                <a:latin typeface="Segoe UI"/>
              </a:rPr>
              <a:t>Quickly build a custom language solution</a:t>
            </a: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363DC5-9039-4BF5-9BDE-BE80EA40E649}"/>
              </a:ext>
            </a:extLst>
          </p:cNvPr>
          <p:cNvSpPr>
            <a:spLocks noChangeAspect="1"/>
          </p:cNvSpPr>
          <p:nvPr/>
        </p:nvSpPr>
        <p:spPr>
          <a:xfrm>
            <a:off x="6142484" y="4179253"/>
            <a:ext cx="2315680" cy="1938043"/>
          </a:xfrm>
          <a:prstGeom prst="rect">
            <a:avLst/>
          </a:prstGeom>
          <a:noFill/>
        </p:spPr>
        <p:txBody>
          <a:bodyPr wrap="square" lIns="182851" tIns="137139" rIns="182851" bIns="46626">
            <a:noAutofit/>
          </a:bodyPr>
          <a:lstStyle/>
          <a:p>
            <a:pPr algn="ctr" defTabSz="1043381">
              <a:lnSpc>
                <a:spcPts val="2479"/>
              </a:lnSpc>
              <a:defRPr/>
            </a:pPr>
            <a:r>
              <a:rPr lang="en-US">
                <a:solidFill>
                  <a:srgbClr val="1A1A1A"/>
                </a:solidFill>
                <a:latin typeface="Segoe UI"/>
              </a:rPr>
              <a:t>Always learning &amp; improving</a:t>
            </a: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1548AD-9517-4B9E-9B4E-CF782124F2A4}"/>
              </a:ext>
            </a:extLst>
          </p:cNvPr>
          <p:cNvSpPr>
            <a:spLocks noChangeAspect="1"/>
          </p:cNvSpPr>
          <p:nvPr/>
        </p:nvSpPr>
        <p:spPr>
          <a:xfrm>
            <a:off x="8871097" y="4179254"/>
            <a:ext cx="2733729" cy="1806183"/>
          </a:xfrm>
          <a:prstGeom prst="rect">
            <a:avLst/>
          </a:prstGeom>
          <a:noFill/>
        </p:spPr>
        <p:txBody>
          <a:bodyPr wrap="square" lIns="182851" tIns="137139" rIns="182851" bIns="46626">
            <a:noAutofit/>
          </a:bodyPr>
          <a:lstStyle/>
          <a:p>
            <a:pPr algn="ctr" defTabSz="1043381">
              <a:lnSpc>
                <a:spcPts val="2479"/>
              </a:lnSpc>
              <a:spcAft>
                <a:spcPts val="612"/>
              </a:spcAft>
              <a:defRPr/>
            </a:pPr>
            <a:r>
              <a:rPr lang="en-US">
                <a:solidFill>
                  <a:srgbClr val="1A1A1A"/>
                </a:solidFill>
                <a:latin typeface="Segoe UI"/>
              </a:rPr>
              <a:t>Enterprise-ready, available worldwide</a:t>
            </a:r>
          </a:p>
          <a:p>
            <a:pPr defTabSz="1043381">
              <a:lnSpc>
                <a:spcPts val="2479"/>
              </a:lnSpc>
              <a:spcAft>
                <a:spcPts val="612"/>
              </a:spcAft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93FCDB6-3A5D-4EF6-A705-C8DD9CCCDBAD}"/>
              </a:ext>
            </a:extLst>
          </p:cNvPr>
          <p:cNvSpPr>
            <a:spLocks noChangeAspect="1"/>
          </p:cNvSpPr>
          <p:nvPr/>
        </p:nvSpPr>
        <p:spPr>
          <a:xfrm>
            <a:off x="413658" y="4179253"/>
            <a:ext cx="2733729" cy="1598645"/>
          </a:xfrm>
          <a:prstGeom prst="rect">
            <a:avLst/>
          </a:prstGeom>
          <a:noFill/>
        </p:spPr>
        <p:txBody>
          <a:bodyPr wrap="square" lIns="182851" tIns="137139" rIns="182851" bIns="46626">
            <a:noAutofit/>
          </a:bodyPr>
          <a:lstStyle/>
          <a:p>
            <a:pPr algn="ctr" defTabSz="1043381">
              <a:lnSpc>
                <a:spcPts val="2479"/>
              </a:lnSpc>
              <a:spcAft>
                <a:spcPts val="612"/>
              </a:spcAft>
              <a:defRPr/>
            </a:pPr>
            <a:r>
              <a:rPr lang="en-US">
                <a:solidFill>
                  <a:srgbClr val="1A1A1A"/>
                </a:solidFill>
                <a:latin typeface="Segoe UI"/>
              </a:rPr>
              <a:t>Add natural language to your apps</a:t>
            </a:r>
          </a:p>
          <a:p>
            <a:pPr algn="ctr" defTabSz="1043381">
              <a:lnSpc>
                <a:spcPts val="2479"/>
              </a:lnSpc>
              <a:spcAft>
                <a:spcPts val="612"/>
              </a:spcAft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</a:endParaRPr>
          </a:p>
          <a:p>
            <a:pPr defTabSz="1043381">
              <a:lnSpc>
                <a:spcPts val="2479"/>
              </a:lnSpc>
              <a:defRPr/>
            </a:pPr>
            <a:endParaRPr lang="en-US">
              <a:solidFill>
                <a:srgbClr val="1A1A1A"/>
              </a:solidFill>
              <a:latin typeface="Segoe U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 descr="https://luisweb.blob.core.windows.net/prod-assets/pages/home_page/LUIS-feat_monitor.png">
            <a:extLst>
              <a:ext uri="{FF2B5EF4-FFF2-40B4-BE49-F238E27FC236}">
                <a16:creationId xmlns:a16="http://schemas.microsoft.com/office/drawing/2014/main" id="{4F6576F3-35A7-4E60-9C17-F78B3D4199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124" y="2670067"/>
            <a:ext cx="2083554" cy="1402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luisweb.blob.core.windows.net/prod-assets/pages/home_page/LUIS-feat_target.png">
            <a:extLst>
              <a:ext uri="{FF2B5EF4-FFF2-40B4-BE49-F238E27FC236}">
                <a16:creationId xmlns:a16="http://schemas.microsoft.com/office/drawing/2014/main" id="{12A7A697-ADAE-418B-82FE-84E69A0FA2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049" y="2389546"/>
            <a:ext cx="1382678" cy="1666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luisweb.blob.core.windows.net/prod-assets/pages/home_page/LUIS-feat_prebuiltIcons.png">
            <a:extLst>
              <a:ext uri="{FF2B5EF4-FFF2-40B4-BE49-F238E27FC236}">
                <a16:creationId xmlns:a16="http://schemas.microsoft.com/office/drawing/2014/main" id="{5CCB396C-95BC-4CE9-90B3-41D27A56D1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2180" y="2763433"/>
            <a:ext cx="1659717" cy="108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luisweb.blob.core.windows.net/prod-assets/pages/home_page/LUIS-feat_intelligence.png">
            <a:extLst>
              <a:ext uri="{FF2B5EF4-FFF2-40B4-BE49-F238E27FC236}">
                <a16:creationId xmlns:a16="http://schemas.microsoft.com/office/drawing/2014/main" id="{D6E8ECF7-91FE-495B-90AC-DE41DCDC8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141" y="2979933"/>
            <a:ext cx="1998229" cy="474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0B9C1FA-68E4-4D45-86D8-4C862DD931FE}"/>
              </a:ext>
            </a:extLst>
          </p:cNvPr>
          <p:cNvSpPr txBox="1"/>
          <p:nvPr/>
        </p:nvSpPr>
        <p:spPr>
          <a:xfrm>
            <a:off x="307528" y="6461737"/>
            <a:ext cx="103052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55">
              <a:defRPr/>
            </a:pPr>
            <a:r>
              <a:rPr lang="en-US" sz="1400">
                <a:solidFill>
                  <a:srgbClr val="1A1A1A"/>
                </a:solidFill>
                <a:latin typeface="Segoe UI"/>
              </a:rPr>
              <a:t>Bot Service Lifecycle:   Plan     |     </a:t>
            </a:r>
            <a:r>
              <a:rPr lang="en-US" sz="1400" b="1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ild</a:t>
            </a:r>
            <a:r>
              <a:rPr lang="en-US" sz="1400" b="1">
                <a:solidFill>
                  <a:srgbClr val="1A1A1A"/>
                </a:solidFill>
                <a:latin typeface="Segoe UI"/>
              </a:rPr>
              <a:t>     </a:t>
            </a:r>
            <a:r>
              <a:rPr lang="en-US" sz="1400">
                <a:solidFill>
                  <a:srgbClr val="1A1A1A"/>
                </a:solidFill>
                <a:latin typeface="Segoe UI"/>
              </a:rPr>
              <a:t>|     Test     |     Publish     |    Connect     |     Evaluat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4797321-A522-5F4A-B33F-2FCC995DB7DC}"/>
              </a:ext>
            </a:extLst>
          </p:cNvPr>
          <p:cNvCxnSpPr>
            <a:cxnSpLocks/>
          </p:cNvCxnSpPr>
          <p:nvPr/>
        </p:nvCxnSpPr>
        <p:spPr>
          <a:xfrm>
            <a:off x="4277307" y="6724848"/>
            <a:ext cx="731403" cy="0"/>
          </a:xfrm>
          <a:prstGeom prst="line">
            <a:avLst/>
          </a:prstGeom>
          <a:ln w="28575" cap="rnd">
            <a:solidFill>
              <a:schemeClr val="accent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A78D2D3-3E79-534C-8F63-BB8EF325D54D}"/>
              </a:ext>
            </a:extLst>
          </p:cNvPr>
          <p:cNvCxnSpPr/>
          <p:nvPr/>
        </p:nvCxnSpPr>
        <p:spPr>
          <a:xfrm>
            <a:off x="95" y="6349956"/>
            <a:ext cx="12191813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084064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39B443-9BBE-42E9-A241-2FA8CFA04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UIS – terminolo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BD9E64-04A5-4125-BEBB-76D3E1D175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083" y="1202140"/>
            <a:ext cx="11018520" cy="3529492"/>
          </a:xfrm>
        </p:spPr>
        <p:txBody>
          <a:bodyPr/>
          <a:lstStyle/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2600"/>
              <a:t>Intent – the action/task the user wants to perform</a:t>
            </a:r>
          </a:p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2600"/>
              <a:t>Utterance – the sentence where the user expresses the goal</a:t>
            </a:r>
          </a:p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2600"/>
              <a:t>Entity – words or phrases inside an entity</a:t>
            </a:r>
          </a:p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2600"/>
              <a:t>Domain –Intents related to a specific type of actions (e.g. Calendar intents) – prebuilt domains</a:t>
            </a:r>
          </a:p>
          <a:p>
            <a:pPr marL="604818" indent="-604818">
              <a:buFont typeface="Arial" panose="020B0604020202020204" pitchFamily="34" charset="0"/>
              <a:buChar char="•"/>
            </a:pPr>
            <a:endParaRPr lang="en-US" sz="26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49B197-8B95-4684-9717-98E3D2D4A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0150" y="4105449"/>
            <a:ext cx="10291701" cy="218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7173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5" name="Rectangle 749">
            <a:extLst>
              <a:ext uri="{FF2B5EF4-FFF2-40B4-BE49-F238E27FC236}">
                <a16:creationId xmlns:a16="http://schemas.microsoft.com/office/drawing/2014/main" id="{7A354403-4695-4FAB-9A02-93D4BFBE14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3021" y="1423711"/>
            <a:ext cx="1771953" cy="2953255"/>
          </a:xfrm>
          <a:prstGeom prst="rect">
            <a:avLst/>
          </a:prstGeom>
          <a:noFill/>
          <a:ln w="19050">
            <a:solidFill>
              <a:schemeClr val="tx2">
                <a:lumMod val="5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65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734" name="Rectangle 768">
            <a:extLst>
              <a:ext uri="{FF2B5EF4-FFF2-40B4-BE49-F238E27FC236}">
                <a16:creationId xmlns:a16="http://schemas.microsoft.com/office/drawing/2014/main" id="{47DE161D-70CA-4CAF-990E-4354D2D4AB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2051" y="1554044"/>
            <a:ext cx="1487941" cy="567438"/>
          </a:xfrm>
          <a:prstGeom prst="rect">
            <a:avLst/>
          </a:prstGeom>
          <a:noFill/>
          <a:ln w="19050">
            <a:solidFill>
              <a:schemeClr val="tx2">
                <a:lumMod val="5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ctr" anchorCtr="0" compatLnSpc="1">
            <a:prstTxWarp prst="textNoShape">
              <a:avLst/>
            </a:prstTxWarp>
          </a:bodyPr>
          <a:lstStyle/>
          <a:p>
            <a:pPr algn="ctr" defTabSz="914355">
              <a:defRPr/>
            </a:pPr>
            <a:r>
              <a:rPr lang="en-US" sz="1600" b="1">
                <a:solidFill>
                  <a:srgbClr val="1A1A1A"/>
                </a:solidFill>
                <a:latin typeface="Segoe UI"/>
              </a:rPr>
              <a:t>Language Model</a:t>
            </a:r>
          </a:p>
        </p:txBody>
      </p:sp>
      <p:sp>
        <p:nvSpPr>
          <p:cNvPr id="735" name="Rectangle 769">
            <a:extLst>
              <a:ext uri="{FF2B5EF4-FFF2-40B4-BE49-F238E27FC236}">
                <a16:creationId xmlns:a16="http://schemas.microsoft.com/office/drawing/2014/main" id="{6DF93C19-1DD6-4A62-939C-32504D2A2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9993" y="3807144"/>
            <a:ext cx="1272056" cy="391288"/>
          </a:xfrm>
          <a:prstGeom prst="rect">
            <a:avLst/>
          </a:prstGeom>
          <a:noFill/>
          <a:ln w="19050">
            <a:solidFill>
              <a:schemeClr val="tx2">
                <a:lumMod val="5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ctr" anchorCtr="0" compatLnSpc="1">
            <a:prstTxWarp prst="textNoShape">
              <a:avLst/>
            </a:prstTxWarp>
          </a:bodyPr>
          <a:lstStyle/>
          <a:p>
            <a:pPr algn="ctr" defTabSz="914355">
              <a:defRPr/>
            </a:pPr>
            <a:r>
              <a:rPr lang="en-US" sz="1200">
                <a:solidFill>
                  <a:srgbClr val="1A1A1A"/>
                </a:solidFill>
                <a:latin typeface="Segoe UI"/>
              </a:rPr>
              <a:t>Custom Model</a:t>
            </a:r>
          </a:p>
        </p:txBody>
      </p:sp>
      <p:sp>
        <p:nvSpPr>
          <p:cNvPr id="736" name="Rectangle 770">
            <a:extLst>
              <a:ext uri="{FF2B5EF4-FFF2-40B4-BE49-F238E27FC236}">
                <a16:creationId xmlns:a16="http://schemas.microsoft.com/office/drawing/2014/main" id="{23FC8373-E4FF-4CDC-AFF7-1D8A5A73A3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0282" y="3119786"/>
            <a:ext cx="609991" cy="581724"/>
          </a:xfrm>
          <a:prstGeom prst="rect">
            <a:avLst/>
          </a:prstGeom>
          <a:noFill/>
          <a:ln w="19050">
            <a:solidFill>
              <a:schemeClr val="tx2">
                <a:lumMod val="5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ctr" anchorCtr="0" compatLnSpc="1">
            <a:prstTxWarp prst="textNoShape">
              <a:avLst/>
            </a:prstTxWarp>
          </a:bodyPr>
          <a:lstStyle/>
          <a:p>
            <a:pPr algn="ctr" defTabSz="914355">
              <a:defRPr/>
            </a:pPr>
            <a:r>
              <a:rPr lang="en-US" sz="1200" err="1">
                <a:solidFill>
                  <a:srgbClr val="1A1A1A"/>
                </a:solidFill>
                <a:latin typeface="Segoe UI"/>
              </a:rPr>
              <a:t>QnA</a:t>
            </a:r>
            <a:endParaRPr lang="en-US" sz="1200">
              <a:solidFill>
                <a:srgbClr val="1A1A1A"/>
              </a:solidFill>
              <a:latin typeface="Segoe UI"/>
            </a:endParaRPr>
          </a:p>
        </p:txBody>
      </p:sp>
      <p:grpSp>
        <p:nvGrpSpPr>
          <p:cNvPr id="869" name="Group 868">
            <a:extLst>
              <a:ext uri="{FF2B5EF4-FFF2-40B4-BE49-F238E27FC236}">
                <a16:creationId xmlns:a16="http://schemas.microsoft.com/office/drawing/2014/main" id="{F74E155A-263C-4A23-B178-ED0A564A99BB}"/>
              </a:ext>
            </a:extLst>
          </p:cNvPr>
          <p:cNvGrpSpPr/>
          <p:nvPr/>
        </p:nvGrpSpPr>
        <p:grpSpPr>
          <a:xfrm>
            <a:off x="1976059" y="2232057"/>
            <a:ext cx="794740" cy="794740"/>
            <a:chOff x="1647890" y="1394370"/>
            <a:chExt cx="1073020" cy="1073020"/>
          </a:xfrm>
        </p:grpSpPr>
        <p:sp>
          <p:nvSpPr>
            <p:cNvPr id="870" name="Oval 869">
              <a:extLst>
                <a:ext uri="{FF2B5EF4-FFF2-40B4-BE49-F238E27FC236}">
                  <a16:creationId xmlns:a16="http://schemas.microsoft.com/office/drawing/2014/main" id="{DD238E27-8966-4DD2-A366-F8D61EE022CD}"/>
                </a:ext>
              </a:extLst>
            </p:cNvPr>
            <p:cNvSpPr/>
            <p:nvPr/>
          </p:nvSpPr>
          <p:spPr bwMode="auto">
            <a:xfrm>
              <a:off x="1647890" y="1394370"/>
              <a:ext cx="1073020" cy="1073020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accent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>
                  <a:solidFill>
                    <a:srgbClr val="E3008C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LUIS</a:t>
              </a:r>
            </a:p>
          </p:txBody>
        </p:sp>
        <p:grpSp>
          <p:nvGrpSpPr>
            <p:cNvPr id="871" name="Group 49">
              <a:extLst>
                <a:ext uri="{FF2B5EF4-FFF2-40B4-BE49-F238E27FC236}">
                  <a16:creationId xmlns:a16="http://schemas.microsoft.com/office/drawing/2014/main" id="{BBB041B8-58EB-4257-99B3-70EA96F47F1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82621" y="1906254"/>
              <a:ext cx="403559" cy="388397"/>
              <a:chOff x="3494" y="1801"/>
              <a:chExt cx="692" cy="666"/>
            </a:xfrm>
            <a:solidFill>
              <a:schemeClr val="accent3"/>
            </a:solidFill>
          </p:grpSpPr>
          <p:sp>
            <p:nvSpPr>
              <p:cNvPr id="872" name="Freeform 50">
                <a:extLst>
                  <a:ext uri="{FF2B5EF4-FFF2-40B4-BE49-F238E27FC236}">
                    <a16:creationId xmlns:a16="http://schemas.microsoft.com/office/drawing/2014/main" id="{7953B7EF-3EB4-4E74-8A45-BE45FA328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4" y="1801"/>
                <a:ext cx="264" cy="666"/>
              </a:xfrm>
              <a:custGeom>
                <a:avLst/>
                <a:gdLst>
                  <a:gd name="T0" fmla="*/ 111 w 111"/>
                  <a:gd name="T1" fmla="*/ 280 h 280"/>
                  <a:gd name="T2" fmla="*/ 100 w 111"/>
                  <a:gd name="T3" fmla="*/ 280 h 280"/>
                  <a:gd name="T4" fmla="*/ 57 w 111"/>
                  <a:gd name="T5" fmla="*/ 266 h 280"/>
                  <a:gd name="T6" fmla="*/ 43 w 111"/>
                  <a:gd name="T7" fmla="*/ 225 h 280"/>
                  <a:gd name="T8" fmla="*/ 43 w 111"/>
                  <a:gd name="T9" fmla="*/ 173 h 280"/>
                  <a:gd name="T10" fmla="*/ 41 w 111"/>
                  <a:gd name="T11" fmla="*/ 160 h 280"/>
                  <a:gd name="T12" fmla="*/ 35 w 111"/>
                  <a:gd name="T13" fmla="*/ 150 h 280"/>
                  <a:gd name="T14" fmla="*/ 24 w 111"/>
                  <a:gd name="T15" fmla="*/ 144 h 280"/>
                  <a:gd name="T16" fmla="*/ 7 w 111"/>
                  <a:gd name="T17" fmla="*/ 142 h 280"/>
                  <a:gd name="T18" fmla="*/ 0 w 111"/>
                  <a:gd name="T19" fmla="*/ 142 h 280"/>
                  <a:gd name="T20" fmla="*/ 0 w 111"/>
                  <a:gd name="T21" fmla="*/ 121 h 280"/>
                  <a:gd name="T22" fmla="*/ 7 w 111"/>
                  <a:gd name="T23" fmla="*/ 121 h 280"/>
                  <a:gd name="T24" fmla="*/ 25 w 111"/>
                  <a:gd name="T25" fmla="*/ 119 h 280"/>
                  <a:gd name="T26" fmla="*/ 36 w 111"/>
                  <a:gd name="T27" fmla="*/ 113 h 280"/>
                  <a:gd name="T28" fmla="*/ 41 w 111"/>
                  <a:gd name="T29" fmla="*/ 104 h 280"/>
                  <a:gd name="T30" fmla="*/ 43 w 111"/>
                  <a:gd name="T31" fmla="*/ 90 h 280"/>
                  <a:gd name="T32" fmla="*/ 43 w 111"/>
                  <a:gd name="T33" fmla="*/ 55 h 280"/>
                  <a:gd name="T34" fmla="*/ 46 w 111"/>
                  <a:gd name="T35" fmla="*/ 32 h 280"/>
                  <a:gd name="T36" fmla="*/ 55 w 111"/>
                  <a:gd name="T37" fmla="*/ 14 h 280"/>
                  <a:gd name="T38" fmla="*/ 73 w 111"/>
                  <a:gd name="T39" fmla="*/ 3 h 280"/>
                  <a:gd name="T40" fmla="*/ 100 w 111"/>
                  <a:gd name="T41" fmla="*/ 0 h 280"/>
                  <a:gd name="T42" fmla="*/ 111 w 111"/>
                  <a:gd name="T43" fmla="*/ 0 h 280"/>
                  <a:gd name="T44" fmla="*/ 111 w 111"/>
                  <a:gd name="T45" fmla="*/ 21 h 280"/>
                  <a:gd name="T46" fmla="*/ 102 w 111"/>
                  <a:gd name="T47" fmla="*/ 21 h 280"/>
                  <a:gd name="T48" fmla="*/ 67 w 111"/>
                  <a:gd name="T49" fmla="*/ 55 h 280"/>
                  <a:gd name="T50" fmla="*/ 67 w 111"/>
                  <a:gd name="T51" fmla="*/ 90 h 280"/>
                  <a:gd name="T52" fmla="*/ 35 w 111"/>
                  <a:gd name="T53" fmla="*/ 131 h 280"/>
                  <a:gd name="T54" fmla="*/ 68 w 111"/>
                  <a:gd name="T55" fmla="*/ 172 h 280"/>
                  <a:gd name="T56" fmla="*/ 68 w 111"/>
                  <a:gd name="T57" fmla="*/ 224 h 280"/>
                  <a:gd name="T58" fmla="*/ 102 w 111"/>
                  <a:gd name="T59" fmla="*/ 258 h 280"/>
                  <a:gd name="T60" fmla="*/ 111 w 111"/>
                  <a:gd name="T61" fmla="*/ 258 h 280"/>
                  <a:gd name="T62" fmla="*/ 111 w 111"/>
                  <a:gd name="T63" fmla="*/ 28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1" h="280">
                    <a:moveTo>
                      <a:pt x="111" y="280"/>
                    </a:moveTo>
                    <a:cubicBezTo>
                      <a:pt x="100" y="280"/>
                      <a:pt x="100" y="280"/>
                      <a:pt x="100" y="280"/>
                    </a:cubicBezTo>
                    <a:cubicBezTo>
                      <a:pt x="81" y="280"/>
                      <a:pt x="66" y="275"/>
                      <a:pt x="57" y="266"/>
                    </a:cubicBezTo>
                    <a:cubicBezTo>
                      <a:pt x="47" y="257"/>
                      <a:pt x="43" y="243"/>
                      <a:pt x="43" y="225"/>
                    </a:cubicBezTo>
                    <a:cubicBezTo>
                      <a:pt x="43" y="173"/>
                      <a:pt x="43" y="173"/>
                      <a:pt x="43" y="173"/>
                    </a:cubicBezTo>
                    <a:cubicBezTo>
                      <a:pt x="43" y="168"/>
                      <a:pt x="42" y="163"/>
                      <a:pt x="41" y="160"/>
                    </a:cubicBezTo>
                    <a:cubicBezTo>
                      <a:pt x="40" y="156"/>
                      <a:pt x="38" y="152"/>
                      <a:pt x="35" y="150"/>
                    </a:cubicBezTo>
                    <a:cubicBezTo>
                      <a:pt x="32" y="147"/>
                      <a:pt x="29" y="145"/>
                      <a:pt x="24" y="144"/>
                    </a:cubicBezTo>
                    <a:cubicBezTo>
                      <a:pt x="20" y="142"/>
                      <a:pt x="14" y="142"/>
                      <a:pt x="7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7" y="121"/>
                      <a:pt x="7" y="121"/>
                      <a:pt x="7" y="121"/>
                    </a:cubicBezTo>
                    <a:cubicBezTo>
                      <a:pt x="14" y="121"/>
                      <a:pt x="20" y="120"/>
                      <a:pt x="25" y="119"/>
                    </a:cubicBezTo>
                    <a:cubicBezTo>
                      <a:pt x="29" y="118"/>
                      <a:pt x="33" y="116"/>
                      <a:pt x="36" y="113"/>
                    </a:cubicBezTo>
                    <a:cubicBezTo>
                      <a:pt x="38" y="111"/>
                      <a:pt x="40" y="108"/>
                      <a:pt x="41" y="104"/>
                    </a:cubicBezTo>
                    <a:cubicBezTo>
                      <a:pt x="42" y="100"/>
                      <a:pt x="43" y="96"/>
                      <a:pt x="43" y="90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3" y="46"/>
                      <a:pt x="44" y="39"/>
                      <a:pt x="46" y="32"/>
                    </a:cubicBezTo>
                    <a:cubicBezTo>
                      <a:pt x="48" y="25"/>
                      <a:pt x="51" y="19"/>
                      <a:pt x="55" y="14"/>
                    </a:cubicBezTo>
                    <a:cubicBezTo>
                      <a:pt x="60" y="10"/>
                      <a:pt x="66" y="6"/>
                      <a:pt x="73" y="3"/>
                    </a:cubicBezTo>
                    <a:cubicBezTo>
                      <a:pt x="80" y="1"/>
                      <a:pt x="89" y="0"/>
                      <a:pt x="100" y="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1" y="21"/>
                      <a:pt x="111" y="21"/>
                      <a:pt x="111" y="21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79" y="21"/>
                      <a:pt x="67" y="32"/>
                      <a:pt x="67" y="55"/>
                    </a:cubicBezTo>
                    <a:cubicBezTo>
                      <a:pt x="67" y="90"/>
                      <a:pt x="67" y="90"/>
                      <a:pt x="67" y="90"/>
                    </a:cubicBezTo>
                    <a:cubicBezTo>
                      <a:pt x="67" y="114"/>
                      <a:pt x="57" y="128"/>
                      <a:pt x="35" y="131"/>
                    </a:cubicBezTo>
                    <a:cubicBezTo>
                      <a:pt x="57" y="133"/>
                      <a:pt x="68" y="147"/>
                      <a:pt x="68" y="172"/>
                    </a:cubicBezTo>
                    <a:cubicBezTo>
                      <a:pt x="68" y="224"/>
                      <a:pt x="68" y="224"/>
                      <a:pt x="68" y="224"/>
                    </a:cubicBezTo>
                    <a:cubicBezTo>
                      <a:pt x="68" y="247"/>
                      <a:pt x="79" y="258"/>
                      <a:pt x="102" y="258"/>
                    </a:cubicBezTo>
                    <a:cubicBezTo>
                      <a:pt x="111" y="258"/>
                      <a:pt x="111" y="258"/>
                      <a:pt x="111" y="258"/>
                    </a:cubicBezTo>
                    <a:lnTo>
                      <a:pt x="111" y="2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38" tIns="45719" rIns="91438" bIns="45719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en-US" sz="110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3" name="Freeform 51">
                <a:extLst>
                  <a:ext uri="{FF2B5EF4-FFF2-40B4-BE49-F238E27FC236}">
                    <a16:creationId xmlns:a16="http://schemas.microsoft.com/office/drawing/2014/main" id="{53450B20-541F-4964-BB8A-EB1FC95ED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" y="1801"/>
                <a:ext cx="264" cy="666"/>
              </a:xfrm>
              <a:custGeom>
                <a:avLst/>
                <a:gdLst>
                  <a:gd name="T0" fmla="*/ 0 w 111"/>
                  <a:gd name="T1" fmla="*/ 0 h 280"/>
                  <a:gd name="T2" fmla="*/ 11 w 111"/>
                  <a:gd name="T3" fmla="*/ 0 h 280"/>
                  <a:gd name="T4" fmla="*/ 54 w 111"/>
                  <a:gd name="T5" fmla="*/ 13 h 280"/>
                  <a:gd name="T6" fmla="*/ 69 w 111"/>
                  <a:gd name="T7" fmla="*/ 55 h 280"/>
                  <a:gd name="T8" fmla="*/ 69 w 111"/>
                  <a:gd name="T9" fmla="*/ 89 h 280"/>
                  <a:gd name="T10" fmla="*/ 70 w 111"/>
                  <a:gd name="T11" fmla="*/ 103 h 280"/>
                  <a:gd name="T12" fmla="*/ 76 w 111"/>
                  <a:gd name="T13" fmla="*/ 112 h 280"/>
                  <a:gd name="T14" fmla="*/ 87 w 111"/>
                  <a:gd name="T15" fmla="*/ 118 h 280"/>
                  <a:gd name="T16" fmla="*/ 105 w 111"/>
                  <a:gd name="T17" fmla="*/ 121 h 280"/>
                  <a:gd name="T18" fmla="*/ 111 w 111"/>
                  <a:gd name="T19" fmla="*/ 121 h 280"/>
                  <a:gd name="T20" fmla="*/ 111 w 111"/>
                  <a:gd name="T21" fmla="*/ 142 h 280"/>
                  <a:gd name="T22" fmla="*/ 105 w 111"/>
                  <a:gd name="T23" fmla="*/ 142 h 280"/>
                  <a:gd name="T24" fmla="*/ 87 w 111"/>
                  <a:gd name="T25" fmla="*/ 143 h 280"/>
                  <a:gd name="T26" fmla="*/ 76 w 111"/>
                  <a:gd name="T27" fmla="*/ 149 h 280"/>
                  <a:gd name="T28" fmla="*/ 70 w 111"/>
                  <a:gd name="T29" fmla="*/ 158 h 280"/>
                  <a:gd name="T30" fmla="*/ 69 w 111"/>
                  <a:gd name="T31" fmla="*/ 172 h 280"/>
                  <a:gd name="T32" fmla="*/ 69 w 111"/>
                  <a:gd name="T33" fmla="*/ 225 h 280"/>
                  <a:gd name="T34" fmla="*/ 66 w 111"/>
                  <a:gd name="T35" fmla="*/ 247 h 280"/>
                  <a:gd name="T36" fmla="*/ 56 w 111"/>
                  <a:gd name="T37" fmla="*/ 265 h 280"/>
                  <a:gd name="T38" fmla="*/ 38 w 111"/>
                  <a:gd name="T39" fmla="*/ 276 h 280"/>
                  <a:gd name="T40" fmla="*/ 11 w 111"/>
                  <a:gd name="T41" fmla="*/ 280 h 280"/>
                  <a:gd name="T42" fmla="*/ 0 w 111"/>
                  <a:gd name="T43" fmla="*/ 280 h 280"/>
                  <a:gd name="T44" fmla="*/ 0 w 111"/>
                  <a:gd name="T45" fmla="*/ 258 h 280"/>
                  <a:gd name="T46" fmla="*/ 9 w 111"/>
                  <a:gd name="T47" fmla="*/ 258 h 280"/>
                  <a:gd name="T48" fmla="*/ 44 w 111"/>
                  <a:gd name="T49" fmla="*/ 225 h 280"/>
                  <a:gd name="T50" fmla="*/ 44 w 111"/>
                  <a:gd name="T51" fmla="*/ 172 h 280"/>
                  <a:gd name="T52" fmla="*/ 76 w 111"/>
                  <a:gd name="T53" fmla="*/ 131 h 280"/>
                  <a:gd name="T54" fmla="*/ 44 w 111"/>
                  <a:gd name="T55" fmla="*/ 90 h 280"/>
                  <a:gd name="T56" fmla="*/ 44 w 111"/>
                  <a:gd name="T57" fmla="*/ 55 h 280"/>
                  <a:gd name="T58" fmla="*/ 9 w 111"/>
                  <a:gd name="T59" fmla="*/ 21 h 280"/>
                  <a:gd name="T60" fmla="*/ 0 w 111"/>
                  <a:gd name="T61" fmla="*/ 21 h 280"/>
                  <a:gd name="T62" fmla="*/ 0 w 111"/>
                  <a:gd name="T63" fmla="*/ 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1" h="280">
                    <a:moveTo>
                      <a:pt x="0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31" y="0"/>
                      <a:pt x="45" y="4"/>
                      <a:pt x="54" y="13"/>
                    </a:cubicBezTo>
                    <a:cubicBezTo>
                      <a:pt x="64" y="22"/>
                      <a:pt x="69" y="36"/>
                      <a:pt x="69" y="55"/>
                    </a:cubicBezTo>
                    <a:cubicBezTo>
                      <a:pt x="69" y="89"/>
                      <a:pt x="69" y="89"/>
                      <a:pt x="69" y="89"/>
                    </a:cubicBezTo>
                    <a:cubicBezTo>
                      <a:pt x="69" y="94"/>
                      <a:pt x="69" y="99"/>
                      <a:pt x="70" y="103"/>
                    </a:cubicBezTo>
                    <a:cubicBezTo>
                      <a:pt x="71" y="106"/>
                      <a:pt x="73" y="110"/>
                      <a:pt x="76" y="112"/>
                    </a:cubicBezTo>
                    <a:cubicBezTo>
                      <a:pt x="79" y="115"/>
                      <a:pt x="83" y="117"/>
                      <a:pt x="87" y="118"/>
                    </a:cubicBezTo>
                    <a:cubicBezTo>
                      <a:pt x="92" y="120"/>
                      <a:pt x="98" y="121"/>
                      <a:pt x="105" y="121"/>
                    </a:cubicBezTo>
                    <a:cubicBezTo>
                      <a:pt x="111" y="121"/>
                      <a:pt x="111" y="121"/>
                      <a:pt x="111" y="121"/>
                    </a:cubicBezTo>
                    <a:cubicBezTo>
                      <a:pt x="111" y="142"/>
                      <a:pt x="111" y="142"/>
                      <a:pt x="111" y="142"/>
                    </a:cubicBezTo>
                    <a:cubicBezTo>
                      <a:pt x="105" y="142"/>
                      <a:pt x="105" y="142"/>
                      <a:pt x="105" y="142"/>
                    </a:cubicBezTo>
                    <a:cubicBezTo>
                      <a:pt x="97" y="142"/>
                      <a:pt x="91" y="142"/>
                      <a:pt x="87" y="143"/>
                    </a:cubicBezTo>
                    <a:cubicBezTo>
                      <a:pt x="82" y="145"/>
                      <a:pt x="78" y="146"/>
                      <a:pt x="76" y="149"/>
                    </a:cubicBezTo>
                    <a:cubicBezTo>
                      <a:pt x="73" y="151"/>
                      <a:pt x="71" y="154"/>
                      <a:pt x="70" y="158"/>
                    </a:cubicBezTo>
                    <a:cubicBezTo>
                      <a:pt x="69" y="162"/>
                      <a:pt x="69" y="167"/>
                      <a:pt x="69" y="172"/>
                    </a:cubicBezTo>
                    <a:cubicBezTo>
                      <a:pt x="69" y="225"/>
                      <a:pt x="69" y="225"/>
                      <a:pt x="69" y="225"/>
                    </a:cubicBezTo>
                    <a:cubicBezTo>
                      <a:pt x="69" y="233"/>
                      <a:pt x="68" y="241"/>
                      <a:pt x="66" y="247"/>
                    </a:cubicBezTo>
                    <a:cubicBezTo>
                      <a:pt x="64" y="254"/>
                      <a:pt x="60" y="260"/>
                      <a:pt x="56" y="265"/>
                    </a:cubicBezTo>
                    <a:cubicBezTo>
                      <a:pt x="51" y="269"/>
                      <a:pt x="45" y="273"/>
                      <a:pt x="38" y="276"/>
                    </a:cubicBezTo>
                    <a:cubicBezTo>
                      <a:pt x="31" y="278"/>
                      <a:pt x="22" y="280"/>
                      <a:pt x="11" y="280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58"/>
                      <a:pt x="0" y="258"/>
                      <a:pt x="0" y="258"/>
                    </a:cubicBezTo>
                    <a:cubicBezTo>
                      <a:pt x="9" y="258"/>
                      <a:pt x="9" y="258"/>
                      <a:pt x="9" y="258"/>
                    </a:cubicBezTo>
                    <a:cubicBezTo>
                      <a:pt x="32" y="258"/>
                      <a:pt x="44" y="247"/>
                      <a:pt x="44" y="225"/>
                    </a:cubicBezTo>
                    <a:cubicBezTo>
                      <a:pt x="44" y="172"/>
                      <a:pt x="44" y="172"/>
                      <a:pt x="44" y="172"/>
                    </a:cubicBezTo>
                    <a:cubicBezTo>
                      <a:pt x="44" y="148"/>
                      <a:pt x="55" y="134"/>
                      <a:pt x="76" y="131"/>
                    </a:cubicBezTo>
                    <a:cubicBezTo>
                      <a:pt x="54" y="129"/>
                      <a:pt x="44" y="115"/>
                      <a:pt x="44" y="90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44" y="32"/>
                      <a:pt x="32" y="21"/>
                      <a:pt x="9" y="21"/>
                    </a:cubicBezTo>
                    <a:cubicBezTo>
                      <a:pt x="0" y="21"/>
                      <a:pt x="0" y="21"/>
                      <a:pt x="0" y="21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38" tIns="45719" rIns="91438" bIns="45719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en-US" sz="1100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</p:grpSp>
      <p:sp>
        <p:nvSpPr>
          <p:cNvPr id="894" name="TextBox 893">
            <a:extLst>
              <a:ext uri="{FF2B5EF4-FFF2-40B4-BE49-F238E27FC236}">
                <a16:creationId xmlns:a16="http://schemas.microsoft.com/office/drawing/2014/main" id="{ED509188-45F2-4693-AC14-15687F3C64A3}"/>
              </a:ext>
            </a:extLst>
          </p:cNvPr>
          <p:cNvSpPr txBox="1"/>
          <p:nvPr/>
        </p:nvSpPr>
        <p:spPr>
          <a:xfrm>
            <a:off x="1463550" y="1118261"/>
            <a:ext cx="188404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55">
              <a:defRPr/>
            </a:pPr>
            <a:r>
              <a:rPr lang="en-US" sz="1600" b="1">
                <a:solidFill>
                  <a:srgbClr val="1A1A1A"/>
                </a:solidFill>
                <a:latin typeface="Segoe UI"/>
              </a:rPr>
              <a:t>BOT COMPONENTS</a:t>
            </a:r>
          </a:p>
        </p:txBody>
      </p:sp>
      <p:sp>
        <p:nvSpPr>
          <p:cNvPr id="716" name="Rectangle 750">
            <a:extLst>
              <a:ext uri="{FF2B5EF4-FFF2-40B4-BE49-F238E27FC236}">
                <a16:creationId xmlns:a16="http://schemas.microsoft.com/office/drawing/2014/main" id="{FA69E70E-3393-4CE2-9DD5-EE33D65B5C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8047" y="4867647"/>
            <a:ext cx="2675022" cy="1353820"/>
          </a:xfrm>
          <a:prstGeom prst="rect">
            <a:avLst/>
          </a:prstGeom>
          <a:noFill/>
          <a:ln w="19050">
            <a:solidFill>
              <a:schemeClr val="tx2">
                <a:lumMod val="1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65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835" name="Freeform 869">
            <a:extLst>
              <a:ext uri="{FF2B5EF4-FFF2-40B4-BE49-F238E27FC236}">
                <a16:creationId xmlns:a16="http://schemas.microsoft.com/office/drawing/2014/main" id="{80EA49C8-126E-4FAB-AE85-9E00365F6845}"/>
              </a:ext>
            </a:extLst>
          </p:cNvPr>
          <p:cNvSpPr>
            <a:spLocks/>
          </p:cNvSpPr>
          <p:nvPr/>
        </p:nvSpPr>
        <p:spPr bwMode="auto">
          <a:xfrm>
            <a:off x="6473899" y="5486501"/>
            <a:ext cx="581724" cy="121998"/>
          </a:xfrm>
          <a:custGeom>
            <a:avLst/>
            <a:gdLst>
              <a:gd name="T0" fmla="*/ 0 w 1172"/>
              <a:gd name="T1" fmla="*/ 0 h 245"/>
              <a:gd name="T2" fmla="*/ 0 w 1172"/>
              <a:gd name="T3" fmla="*/ 245 h 245"/>
              <a:gd name="T4" fmla="*/ 1172 w 1172"/>
              <a:gd name="T5" fmla="*/ 245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72" h="245">
                <a:moveTo>
                  <a:pt x="0" y="0"/>
                </a:moveTo>
                <a:lnTo>
                  <a:pt x="0" y="245"/>
                </a:lnTo>
                <a:lnTo>
                  <a:pt x="1172" y="245"/>
                </a:lnTo>
              </a:path>
            </a:pathLst>
          </a:custGeom>
          <a:noFill/>
          <a:ln w="12700">
            <a:solidFill>
              <a:schemeClr val="bg1"/>
            </a:solidFill>
            <a:prstDash val="solid"/>
            <a:round/>
            <a:headEnd/>
            <a:tailEnd type="arrow" w="lg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65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828" name="Rectangle 862">
            <a:extLst>
              <a:ext uri="{FF2B5EF4-FFF2-40B4-BE49-F238E27FC236}">
                <a16:creationId xmlns:a16="http://schemas.microsoft.com/office/drawing/2014/main" id="{FF27443C-F241-44E4-B3A9-F8091443B7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7939" y="5129433"/>
            <a:ext cx="1212546" cy="926890"/>
          </a:xfrm>
          <a:prstGeom prst="rect">
            <a:avLst/>
          </a:prstGeom>
          <a:noFill/>
          <a:ln w="19050">
            <a:solidFill>
              <a:schemeClr val="tx2">
                <a:lumMod val="1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ctr" anchorCtr="0" compatLnSpc="1">
            <a:prstTxWarp prst="textNoShape">
              <a:avLst/>
            </a:prstTxWarp>
          </a:bodyPr>
          <a:lstStyle/>
          <a:p>
            <a:pPr algn="ctr" defTabSz="914355">
              <a:defRPr/>
            </a:pPr>
            <a:r>
              <a:rPr lang="en-US" sz="1765" b="1">
                <a:solidFill>
                  <a:srgbClr val="1A1A1A"/>
                </a:solidFill>
                <a:latin typeface="Segoe UI"/>
              </a:rPr>
              <a:t>Bot Logic</a:t>
            </a:r>
          </a:p>
        </p:txBody>
      </p:sp>
      <p:grpSp>
        <p:nvGrpSpPr>
          <p:cNvPr id="884" name="Group 883">
            <a:extLst>
              <a:ext uri="{FF2B5EF4-FFF2-40B4-BE49-F238E27FC236}">
                <a16:creationId xmlns:a16="http://schemas.microsoft.com/office/drawing/2014/main" id="{BDC933CD-149D-4BD7-8363-773B05A2ADD6}"/>
              </a:ext>
            </a:extLst>
          </p:cNvPr>
          <p:cNvGrpSpPr/>
          <p:nvPr/>
        </p:nvGrpSpPr>
        <p:grpSpPr>
          <a:xfrm>
            <a:off x="10239948" y="4541190"/>
            <a:ext cx="794740" cy="794740"/>
            <a:chOff x="1647890" y="1355790"/>
            <a:chExt cx="1073020" cy="1073020"/>
          </a:xfrm>
        </p:grpSpPr>
        <p:sp>
          <p:nvSpPr>
            <p:cNvPr id="885" name="Oval 884">
              <a:extLst>
                <a:ext uri="{FF2B5EF4-FFF2-40B4-BE49-F238E27FC236}">
                  <a16:creationId xmlns:a16="http://schemas.microsoft.com/office/drawing/2014/main" id="{AF73D8A2-FF6C-4528-9EA2-0D9F49C4FCE6}"/>
                </a:ext>
              </a:extLst>
            </p:cNvPr>
            <p:cNvSpPr/>
            <p:nvPr/>
          </p:nvSpPr>
          <p:spPr bwMode="auto">
            <a:xfrm>
              <a:off x="1647890" y="1355790"/>
              <a:ext cx="1073020" cy="1073020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accent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>
                  <a:solidFill>
                    <a:srgbClr val="E3008C"/>
                  </a:solidFill>
                  <a:latin typeface="Segoe UI Semibold"/>
                  <a:ea typeface="Segoe UI" pitchFamily="34" charset="0"/>
                  <a:cs typeface="Segoe UI" pitchFamily="34" charset="0"/>
                </a:rPr>
                <a:t>LUIS</a:t>
              </a:r>
            </a:p>
          </p:txBody>
        </p:sp>
        <p:grpSp>
          <p:nvGrpSpPr>
            <p:cNvPr id="886" name="Group 49">
              <a:extLst>
                <a:ext uri="{FF2B5EF4-FFF2-40B4-BE49-F238E27FC236}">
                  <a16:creationId xmlns:a16="http://schemas.microsoft.com/office/drawing/2014/main" id="{AA56A64F-CA7A-4235-9ED9-D355673DFC1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82621" y="1906254"/>
              <a:ext cx="403559" cy="388397"/>
              <a:chOff x="3494" y="1801"/>
              <a:chExt cx="692" cy="666"/>
            </a:xfrm>
            <a:solidFill>
              <a:schemeClr val="accent3"/>
            </a:solidFill>
          </p:grpSpPr>
          <p:sp>
            <p:nvSpPr>
              <p:cNvPr id="887" name="Freeform 50">
                <a:extLst>
                  <a:ext uri="{FF2B5EF4-FFF2-40B4-BE49-F238E27FC236}">
                    <a16:creationId xmlns:a16="http://schemas.microsoft.com/office/drawing/2014/main" id="{F7B22588-60E4-49F2-B406-0993DE89E7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4" y="1801"/>
                <a:ext cx="264" cy="666"/>
              </a:xfrm>
              <a:custGeom>
                <a:avLst/>
                <a:gdLst>
                  <a:gd name="T0" fmla="*/ 111 w 111"/>
                  <a:gd name="T1" fmla="*/ 280 h 280"/>
                  <a:gd name="T2" fmla="*/ 100 w 111"/>
                  <a:gd name="T3" fmla="*/ 280 h 280"/>
                  <a:gd name="T4" fmla="*/ 57 w 111"/>
                  <a:gd name="T5" fmla="*/ 266 h 280"/>
                  <a:gd name="T6" fmla="*/ 43 w 111"/>
                  <a:gd name="T7" fmla="*/ 225 h 280"/>
                  <a:gd name="T8" fmla="*/ 43 w 111"/>
                  <a:gd name="T9" fmla="*/ 173 h 280"/>
                  <a:gd name="T10" fmla="*/ 41 w 111"/>
                  <a:gd name="T11" fmla="*/ 160 h 280"/>
                  <a:gd name="T12" fmla="*/ 35 w 111"/>
                  <a:gd name="T13" fmla="*/ 150 h 280"/>
                  <a:gd name="T14" fmla="*/ 24 w 111"/>
                  <a:gd name="T15" fmla="*/ 144 h 280"/>
                  <a:gd name="T16" fmla="*/ 7 w 111"/>
                  <a:gd name="T17" fmla="*/ 142 h 280"/>
                  <a:gd name="T18" fmla="*/ 0 w 111"/>
                  <a:gd name="T19" fmla="*/ 142 h 280"/>
                  <a:gd name="T20" fmla="*/ 0 w 111"/>
                  <a:gd name="T21" fmla="*/ 121 h 280"/>
                  <a:gd name="T22" fmla="*/ 7 w 111"/>
                  <a:gd name="T23" fmla="*/ 121 h 280"/>
                  <a:gd name="T24" fmla="*/ 25 w 111"/>
                  <a:gd name="T25" fmla="*/ 119 h 280"/>
                  <a:gd name="T26" fmla="*/ 36 w 111"/>
                  <a:gd name="T27" fmla="*/ 113 h 280"/>
                  <a:gd name="T28" fmla="*/ 41 w 111"/>
                  <a:gd name="T29" fmla="*/ 104 h 280"/>
                  <a:gd name="T30" fmla="*/ 43 w 111"/>
                  <a:gd name="T31" fmla="*/ 90 h 280"/>
                  <a:gd name="T32" fmla="*/ 43 w 111"/>
                  <a:gd name="T33" fmla="*/ 55 h 280"/>
                  <a:gd name="T34" fmla="*/ 46 w 111"/>
                  <a:gd name="T35" fmla="*/ 32 h 280"/>
                  <a:gd name="T36" fmla="*/ 55 w 111"/>
                  <a:gd name="T37" fmla="*/ 14 h 280"/>
                  <a:gd name="T38" fmla="*/ 73 w 111"/>
                  <a:gd name="T39" fmla="*/ 3 h 280"/>
                  <a:gd name="T40" fmla="*/ 100 w 111"/>
                  <a:gd name="T41" fmla="*/ 0 h 280"/>
                  <a:gd name="T42" fmla="*/ 111 w 111"/>
                  <a:gd name="T43" fmla="*/ 0 h 280"/>
                  <a:gd name="T44" fmla="*/ 111 w 111"/>
                  <a:gd name="T45" fmla="*/ 21 h 280"/>
                  <a:gd name="T46" fmla="*/ 102 w 111"/>
                  <a:gd name="T47" fmla="*/ 21 h 280"/>
                  <a:gd name="T48" fmla="*/ 67 w 111"/>
                  <a:gd name="T49" fmla="*/ 55 h 280"/>
                  <a:gd name="T50" fmla="*/ 67 w 111"/>
                  <a:gd name="T51" fmla="*/ 90 h 280"/>
                  <a:gd name="T52" fmla="*/ 35 w 111"/>
                  <a:gd name="T53" fmla="*/ 131 h 280"/>
                  <a:gd name="T54" fmla="*/ 68 w 111"/>
                  <a:gd name="T55" fmla="*/ 172 h 280"/>
                  <a:gd name="T56" fmla="*/ 68 w 111"/>
                  <a:gd name="T57" fmla="*/ 224 h 280"/>
                  <a:gd name="T58" fmla="*/ 102 w 111"/>
                  <a:gd name="T59" fmla="*/ 258 h 280"/>
                  <a:gd name="T60" fmla="*/ 111 w 111"/>
                  <a:gd name="T61" fmla="*/ 258 h 280"/>
                  <a:gd name="T62" fmla="*/ 111 w 111"/>
                  <a:gd name="T63" fmla="*/ 28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1" h="280">
                    <a:moveTo>
                      <a:pt x="111" y="280"/>
                    </a:moveTo>
                    <a:cubicBezTo>
                      <a:pt x="100" y="280"/>
                      <a:pt x="100" y="280"/>
                      <a:pt x="100" y="280"/>
                    </a:cubicBezTo>
                    <a:cubicBezTo>
                      <a:pt x="81" y="280"/>
                      <a:pt x="66" y="275"/>
                      <a:pt x="57" y="266"/>
                    </a:cubicBezTo>
                    <a:cubicBezTo>
                      <a:pt x="47" y="257"/>
                      <a:pt x="43" y="243"/>
                      <a:pt x="43" y="225"/>
                    </a:cubicBezTo>
                    <a:cubicBezTo>
                      <a:pt x="43" y="173"/>
                      <a:pt x="43" y="173"/>
                      <a:pt x="43" y="173"/>
                    </a:cubicBezTo>
                    <a:cubicBezTo>
                      <a:pt x="43" y="168"/>
                      <a:pt x="42" y="163"/>
                      <a:pt x="41" y="160"/>
                    </a:cubicBezTo>
                    <a:cubicBezTo>
                      <a:pt x="40" y="156"/>
                      <a:pt x="38" y="152"/>
                      <a:pt x="35" y="150"/>
                    </a:cubicBezTo>
                    <a:cubicBezTo>
                      <a:pt x="32" y="147"/>
                      <a:pt x="29" y="145"/>
                      <a:pt x="24" y="144"/>
                    </a:cubicBezTo>
                    <a:cubicBezTo>
                      <a:pt x="20" y="142"/>
                      <a:pt x="14" y="142"/>
                      <a:pt x="7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7" y="121"/>
                      <a:pt x="7" y="121"/>
                      <a:pt x="7" y="121"/>
                    </a:cubicBezTo>
                    <a:cubicBezTo>
                      <a:pt x="14" y="121"/>
                      <a:pt x="20" y="120"/>
                      <a:pt x="25" y="119"/>
                    </a:cubicBezTo>
                    <a:cubicBezTo>
                      <a:pt x="29" y="118"/>
                      <a:pt x="33" y="116"/>
                      <a:pt x="36" y="113"/>
                    </a:cubicBezTo>
                    <a:cubicBezTo>
                      <a:pt x="38" y="111"/>
                      <a:pt x="40" y="108"/>
                      <a:pt x="41" y="104"/>
                    </a:cubicBezTo>
                    <a:cubicBezTo>
                      <a:pt x="42" y="100"/>
                      <a:pt x="43" y="96"/>
                      <a:pt x="43" y="90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3" y="46"/>
                      <a:pt x="44" y="39"/>
                      <a:pt x="46" y="32"/>
                    </a:cubicBezTo>
                    <a:cubicBezTo>
                      <a:pt x="48" y="25"/>
                      <a:pt x="51" y="19"/>
                      <a:pt x="55" y="14"/>
                    </a:cubicBezTo>
                    <a:cubicBezTo>
                      <a:pt x="60" y="10"/>
                      <a:pt x="66" y="6"/>
                      <a:pt x="73" y="3"/>
                    </a:cubicBezTo>
                    <a:cubicBezTo>
                      <a:pt x="80" y="1"/>
                      <a:pt x="89" y="0"/>
                      <a:pt x="100" y="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1" y="21"/>
                      <a:pt x="111" y="21"/>
                      <a:pt x="111" y="21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79" y="21"/>
                      <a:pt x="67" y="32"/>
                      <a:pt x="67" y="55"/>
                    </a:cubicBezTo>
                    <a:cubicBezTo>
                      <a:pt x="67" y="90"/>
                      <a:pt x="67" y="90"/>
                      <a:pt x="67" y="90"/>
                    </a:cubicBezTo>
                    <a:cubicBezTo>
                      <a:pt x="67" y="114"/>
                      <a:pt x="57" y="128"/>
                      <a:pt x="35" y="131"/>
                    </a:cubicBezTo>
                    <a:cubicBezTo>
                      <a:pt x="57" y="133"/>
                      <a:pt x="68" y="147"/>
                      <a:pt x="68" y="172"/>
                    </a:cubicBezTo>
                    <a:cubicBezTo>
                      <a:pt x="68" y="224"/>
                      <a:pt x="68" y="224"/>
                      <a:pt x="68" y="224"/>
                    </a:cubicBezTo>
                    <a:cubicBezTo>
                      <a:pt x="68" y="247"/>
                      <a:pt x="79" y="258"/>
                      <a:pt x="102" y="258"/>
                    </a:cubicBezTo>
                    <a:cubicBezTo>
                      <a:pt x="111" y="258"/>
                      <a:pt x="111" y="258"/>
                      <a:pt x="111" y="258"/>
                    </a:cubicBezTo>
                    <a:lnTo>
                      <a:pt x="111" y="2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38" tIns="45719" rIns="91438" bIns="45719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en-US" sz="110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88" name="Freeform 51">
                <a:extLst>
                  <a:ext uri="{FF2B5EF4-FFF2-40B4-BE49-F238E27FC236}">
                    <a16:creationId xmlns:a16="http://schemas.microsoft.com/office/drawing/2014/main" id="{F1C9FE11-B310-48AF-A83D-CBEB4A96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" y="1801"/>
                <a:ext cx="264" cy="666"/>
              </a:xfrm>
              <a:custGeom>
                <a:avLst/>
                <a:gdLst>
                  <a:gd name="T0" fmla="*/ 0 w 111"/>
                  <a:gd name="T1" fmla="*/ 0 h 280"/>
                  <a:gd name="T2" fmla="*/ 11 w 111"/>
                  <a:gd name="T3" fmla="*/ 0 h 280"/>
                  <a:gd name="T4" fmla="*/ 54 w 111"/>
                  <a:gd name="T5" fmla="*/ 13 h 280"/>
                  <a:gd name="T6" fmla="*/ 69 w 111"/>
                  <a:gd name="T7" fmla="*/ 55 h 280"/>
                  <a:gd name="T8" fmla="*/ 69 w 111"/>
                  <a:gd name="T9" fmla="*/ 89 h 280"/>
                  <a:gd name="T10" fmla="*/ 70 w 111"/>
                  <a:gd name="T11" fmla="*/ 103 h 280"/>
                  <a:gd name="T12" fmla="*/ 76 w 111"/>
                  <a:gd name="T13" fmla="*/ 112 h 280"/>
                  <a:gd name="T14" fmla="*/ 87 w 111"/>
                  <a:gd name="T15" fmla="*/ 118 h 280"/>
                  <a:gd name="T16" fmla="*/ 105 w 111"/>
                  <a:gd name="T17" fmla="*/ 121 h 280"/>
                  <a:gd name="T18" fmla="*/ 111 w 111"/>
                  <a:gd name="T19" fmla="*/ 121 h 280"/>
                  <a:gd name="T20" fmla="*/ 111 w 111"/>
                  <a:gd name="T21" fmla="*/ 142 h 280"/>
                  <a:gd name="T22" fmla="*/ 105 w 111"/>
                  <a:gd name="T23" fmla="*/ 142 h 280"/>
                  <a:gd name="T24" fmla="*/ 87 w 111"/>
                  <a:gd name="T25" fmla="*/ 143 h 280"/>
                  <a:gd name="T26" fmla="*/ 76 w 111"/>
                  <a:gd name="T27" fmla="*/ 149 h 280"/>
                  <a:gd name="T28" fmla="*/ 70 w 111"/>
                  <a:gd name="T29" fmla="*/ 158 h 280"/>
                  <a:gd name="T30" fmla="*/ 69 w 111"/>
                  <a:gd name="T31" fmla="*/ 172 h 280"/>
                  <a:gd name="T32" fmla="*/ 69 w 111"/>
                  <a:gd name="T33" fmla="*/ 225 h 280"/>
                  <a:gd name="T34" fmla="*/ 66 w 111"/>
                  <a:gd name="T35" fmla="*/ 247 h 280"/>
                  <a:gd name="T36" fmla="*/ 56 w 111"/>
                  <a:gd name="T37" fmla="*/ 265 h 280"/>
                  <a:gd name="T38" fmla="*/ 38 w 111"/>
                  <a:gd name="T39" fmla="*/ 276 h 280"/>
                  <a:gd name="T40" fmla="*/ 11 w 111"/>
                  <a:gd name="T41" fmla="*/ 280 h 280"/>
                  <a:gd name="T42" fmla="*/ 0 w 111"/>
                  <a:gd name="T43" fmla="*/ 280 h 280"/>
                  <a:gd name="T44" fmla="*/ 0 w 111"/>
                  <a:gd name="T45" fmla="*/ 258 h 280"/>
                  <a:gd name="T46" fmla="*/ 9 w 111"/>
                  <a:gd name="T47" fmla="*/ 258 h 280"/>
                  <a:gd name="T48" fmla="*/ 44 w 111"/>
                  <a:gd name="T49" fmla="*/ 225 h 280"/>
                  <a:gd name="T50" fmla="*/ 44 w 111"/>
                  <a:gd name="T51" fmla="*/ 172 h 280"/>
                  <a:gd name="T52" fmla="*/ 76 w 111"/>
                  <a:gd name="T53" fmla="*/ 131 h 280"/>
                  <a:gd name="T54" fmla="*/ 44 w 111"/>
                  <a:gd name="T55" fmla="*/ 90 h 280"/>
                  <a:gd name="T56" fmla="*/ 44 w 111"/>
                  <a:gd name="T57" fmla="*/ 55 h 280"/>
                  <a:gd name="T58" fmla="*/ 9 w 111"/>
                  <a:gd name="T59" fmla="*/ 21 h 280"/>
                  <a:gd name="T60" fmla="*/ 0 w 111"/>
                  <a:gd name="T61" fmla="*/ 21 h 280"/>
                  <a:gd name="T62" fmla="*/ 0 w 111"/>
                  <a:gd name="T63" fmla="*/ 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1" h="280">
                    <a:moveTo>
                      <a:pt x="0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31" y="0"/>
                      <a:pt x="45" y="4"/>
                      <a:pt x="54" y="13"/>
                    </a:cubicBezTo>
                    <a:cubicBezTo>
                      <a:pt x="64" y="22"/>
                      <a:pt x="69" y="36"/>
                      <a:pt x="69" y="55"/>
                    </a:cubicBezTo>
                    <a:cubicBezTo>
                      <a:pt x="69" y="89"/>
                      <a:pt x="69" y="89"/>
                      <a:pt x="69" y="89"/>
                    </a:cubicBezTo>
                    <a:cubicBezTo>
                      <a:pt x="69" y="94"/>
                      <a:pt x="69" y="99"/>
                      <a:pt x="70" y="103"/>
                    </a:cubicBezTo>
                    <a:cubicBezTo>
                      <a:pt x="71" y="106"/>
                      <a:pt x="73" y="110"/>
                      <a:pt x="76" y="112"/>
                    </a:cubicBezTo>
                    <a:cubicBezTo>
                      <a:pt x="79" y="115"/>
                      <a:pt x="83" y="117"/>
                      <a:pt x="87" y="118"/>
                    </a:cubicBezTo>
                    <a:cubicBezTo>
                      <a:pt x="92" y="120"/>
                      <a:pt x="98" y="121"/>
                      <a:pt x="105" y="121"/>
                    </a:cubicBezTo>
                    <a:cubicBezTo>
                      <a:pt x="111" y="121"/>
                      <a:pt x="111" y="121"/>
                      <a:pt x="111" y="121"/>
                    </a:cubicBezTo>
                    <a:cubicBezTo>
                      <a:pt x="111" y="142"/>
                      <a:pt x="111" y="142"/>
                      <a:pt x="111" y="142"/>
                    </a:cubicBezTo>
                    <a:cubicBezTo>
                      <a:pt x="105" y="142"/>
                      <a:pt x="105" y="142"/>
                      <a:pt x="105" y="142"/>
                    </a:cubicBezTo>
                    <a:cubicBezTo>
                      <a:pt x="97" y="142"/>
                      <a:pt x="91" y="142"/>
                      <a:pt x="87" y="143"/>
                    </a:cubicBezTo>
                    <a:cubicBezTo>
                      <a:pt x="82" y="145"/>
                      <a:pt x="78" y="146"/>
                      <a:pt x="76" y="149"/>
                    </a:cubicBezTo>
                    <a:cubicBezTo>
                      <a:pt x="73" y="151"/>
                      <a:pt x="71" y="154"/>
                      <a:pt x="70" y="158"/>
                    </a:cubicBezTo>
                    <a:cubicBezTo>
                      <a:pt x="69" y="162"/>
                      <a:pt x="69" y="167"/>
                      <a:pt x="69" y="172"/>
                    </a:cubicBezTo>
                    <a:cubicBezTo>
                      <a:pt x="69" y="225"/>
                      <a:pt x="69" y="225"/>
                      <a:pt x="69" y="225"/>
                    </a:cubicBezTo>
                    <a:cubicBezTo>
                      <a:pt x="69" y="233"/>
                      <a:pt x="68" y="241"/>
                      <a:pt x="66" y="247"/>
                    </a:cubicBezTo>
                    <a:cubicBezTo>
                      <a:pt x="64" y="254"/>
                      <a:pt x="60" y="260"/>
                      <a:pt x="56" y="265"/>
                    </a:cubicBezTo>
                    <a:cubicBezTo>
                      <a:pt x="51" y="269"/>
                      <a:pt x="45" y="273"/>
                      <a:pt x="38" y="276"/>
                    </a:cubicBezTo>
                    <a:cubicBezTo>
                      <a:pt x="31" y="278"/>
                      <a:pt x="22" y="280"/>
                      <a:pt x="11" y="280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58"/>
                      <a:pt x="0" y="258"/>
                      <a:pt x="0" y="258"/>
                    </a:cubicBezTo>
                    <a:cubicBezTo>
                      <a:pt x="9" y="258"/>
                      <a:pt x="9" y="258"/>
                      <a:pt x="9" y="258"/>
                    </a:cubicBezTo>
                    <a:cubicBezTo>
                      <a:pt x="32" y="258"/>
                      <a:pt x="44" y="247"/>
                      <a:pt x="44" y="225"/>
                    </a:cubicBezTo>
                    <a:cubicBezTo>
                      <a:pt x="44" y="172"/>
                      <a:pt x="44" y="172"/>
                      <a:pt x="44" y="172"/>
                    </a:cubicBezTo>
                    <a:cubicBezTo>
                      <a:pt x="44" y="148"/>
                      <a:pt x="55" y="134"/>
                      <a:pt x="76" y="131"/>
                    </a:cubicBezTo>
                    <a:cubicBezTo>
                      <a:pt x="54" y="129"/>
                      <a:pt x="44" y="115"/>
                      <a:pt x="44" y="90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44" y="32"/>
                      <a:pt x="32" y="21"/>
                      <a:pt x="9" y="21"/>
                    </a:cubicBezTo>
                    <a:cubicBezTo>
                      <a:pt x="0" y="21"/>
                      <a:pt x="0" y="21"/>
                      <a:pt x="0" y="21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38" tIns="45719" rIns="91438" bIns="45719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en-US" sz="1100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</p:grpSp>
      <p:grpSp>
        <p:nvGrpSpPr>
          <p:cNvPr id="928" name="Group 927">
            <a:extLst>
              <a:ext uri="{FF2B5EF4-FFF2-40B4-BE49-F238E27FC236}">
                <a16:creationId xmlns:a16="http://schemas.microsoft.com/office/drawing/2014/main" id="{B6273926-ED50-4202-9252-E86A49F896C9}"/>
              </a:ext>
            </a:extLst>
          </p:cNvPr>
          <p:cNvGrpSpPr/>
          <p:nvPr/>
        </p:nvGrpSpPr>
        <p:grpSpPr>
          <a:xfrm>
            <a:off x="8529182" y="5319500"/>
            <a:ext cx="1187253" cy="507831"/>
            <a:chOff x="8529219" y="5319530"/>
            <a:chExt cx="1187271" cy="507839"/>
          </a:xfrm>
        </p:grpSpPr>
        <p:sp>
          <p:nvSpPr>
            <p:cNvPr id="839" name="Line 873">
              <a:extLst>
                <a:ext uri="{FF2B5EF4-FFF2-40B4-BE49-F238E27FC236}">
                  <a16:creationId xmlns:a16="http://schemas.microsoft.com/office/drawing/2014/main" id="{409D9C72-132E-4F3D-B4E0-431F2DB136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9219" y="5578776"/>
              <a:ext cx="1187271" cy="0"/>
            </a:xfrm>
            <a:prstGeom prst="line">
              <a:avLst/>
            </a:prstGeom>
            <a:noFill/>
            <a:ln w="19050">
              <a:solidFill>
                <a:schemeClr val="bg1"/>
              </a:solidFill>
              <a:prstDash val="dash"/>
              <a:round/>
              <a:headEnd type="arrow" w="lg" len="sm"/>
              <a:tailEnd type="arrow" w="lg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891" name="TextBox 890">
              <a:extLst>
                <a:ext uri="{FF2B5EF4-FFF2-40B4-BE49-F238E27FC236}">
                  <a16:creationId xmlns:a16="http://schemas.microsoft.com/office/drawing/2014/main" id="{765F5AD4-F693-4C23-AD11-14A20FCD35C4}"/>
                </a:ext>
              </a:extLst>
            </p:cNvPr>
            <p:cNvSpPr txBox="1"/>
            <p:nvPr/>
          </p:nvSpPr>
          <p:spPr>
            <a:xfrm>
              <a:off x="8754122" y="5319530"/>
              <a:ext cx="751820" cy="50783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355">
                <a:spcAft>
                  <a:spcPts val="600"/>
                </a:spcAft>
                <a:defRPr/>
              </a:pPr>
              <a:r>
                <a:rPr lang="en-US" sz="1400">
                  <a:solidFill>
                    <a:srgbClr val="1A1A1A"/>
                  </a:solidFill>
                  <a:latin typeface="Segoe UI"/>
                </a:rPr>
                <a:t>ANSWER,</a:t>
              </a:r>
            </a:p>
            <a:p>
              <a:pPr algn="ctr" defTabSz="914355">
                <a:spcAft>
                  <a:spcPts val="600"/>
                </a:spcAft>
                <a:defRPr/>
              </a:pPr>
              <a:r>
                <a:rPr lang="en-US" sz="1400">
                  <a:solidFill>
                    <a:srgbClr val="1A1A1A"/>
                  </a:solidFill>
                  <a:latin typeface="Segoe UI"/>
                </a:rPr>
                <a:t>INTENT</a:t>
              </a:r>
            </a:p>
          </p:txBody>
        </p:sp>
      </p:grpSp>
      <p:sp>
        <p:nvSpPr>
          <p:cNvPr id="892" name="TextBox 891">
            <a:extLst>
              <a:ext uri="{FF2B5EF4-FFF2-40B4-BE49-F238E27FC236}">
                <a16:creationId xmlns:a16="http://schemas.microsoft.com/office/drawing/2014/main" id="{7FBBAAD7-4DBE-42D0-B579-3019C99BB10E}"/>
              </a:ext>
            </a:extLst>
          </p:cNvPr>
          <p:cNvSpPr txBox="1"/>
          <p:nvPr/>
        </p:nvSpPr>
        <p:spPr>
          <a:xfrm>
            <a:off x="5892804" y="6322509"/>
            <a:ext cx="2578060" cy="2462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 defTabSz="914355">
              <a:defRPr/>
            </a:pPr>
            <a:r>
              <a:rPr lang="en-US" sz="1600" b="1">
                <a:solidFill>
                  <a:srgbClr val="2139B5"/>
                </a:solidFill>
                <a:latin typeface="Segoe UI"/>
              </a:rPr>
              <a:t>BOT RUNTIME</a:t>
            </a:r>
          </a:p>
        </p:txBody>
      </p:sp>
      <p:sp>
        <p:nvSpPr>
          <p:cNvPr id="746" name="Rectangle 780">
            <a:extLst>
              <a:ext uri="{FF2B5EF4-FFF2-40B4-BE49-F238E27FC236}">
                <a16:creationId xmlns:a16="http://schemas.microsoft.com/office/drawing/2014/main" id="{9222748F-D3A7-47E2-9500-47E46A91B6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9099" y="4432340"/>
            <a:ext cx="1773441" cy="2021902"/>
          </a:xfrm>
          <a:prstGeom prst="rect">
            <a:avLst/>
          </a:prstGeom>
          <a:noFill/>
          <a:ln w="19050">
            <a:solidFill>
              <a:schemeClr val="accent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65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845" name="Rectangle 879">
            <a:extLst>
              <a:ext uri="{FF2B5EF4-FFF2-40B4-BE49-F238E27FC236}">
                <a16:creationId xmlns:a16="http://schemas.microsoft.com/office/drawing/2014/main" id="{F620E513-4BD4-4E6D-A5F5-99B2F0A73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235" y="5509498"/>
            <a:ext cx="723888" cy="775136"/>
          </a:xfrm>
          <a:prstGeom prst="rect">
            <a:avLst/>
          </a:prstGeom>
          <a:noFill/>
          <a:ln w="19050">
            <a:solidFill>
              <a:schemeClr val="accent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45719" rIns="0" bIns="45719" numCol="1" anchor="ctr" anchorCtr="0" compatLnSpc="1">
            <a:prstTxWarp prst="textNoShape">
              <a:avLst/>
            </a:prstTxWarp>
          </a:bodyPr>
          <a:lstStyle/>
          <a:p>
            <a:pPr algn="ctr" defTabSz="914355">
              <a:defRPr/>
            </a:pPr>
            <a:r>
              <a:rPr lang="en-US" sz="1400">
                <a:solidFill>
                  <a:srgbClr val="FFFFFF">
                    <a:lumMod val="65000"/>
                  </a:srgbClr>
                </a:solidFill>
                <a:latin typeface="Segoe UI"/>
              </a:rPr>
              <a:t>OTHER</a:t>
            </a:r>
          </a:p>
        </p:txBody>
      </p:sp>
      <p:sp>
        <p:nvSpPr>
          <p:cNvPr id="846" name="Rectangle 880">
            <a:extLst>
              <a:ext uri="{FF2B5EF4-FFF2-40B4-BE49-F238E27FC236}">
                <a16:creationId xmlns:a16="http://schemas.microsoft.com/office/drawing/2014/main" id="{26AE9E2E-18BF-4D90-A19D-6B28CB7233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0024" y="5509498"/>
            <a:ext cx="672612" cy="775136"/>
          </a:xfrm>
          <a:prstGeom prst="rect">
            <a:avLst/>
          </a:prstGeom>
          <a:noFill/>
          <a:ln w="19050">
            <a:solidFill>
              <a:schemeClr val="accent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45719" rIns="0" bIns="45719" numCol="1" anchor="ctr" anchorCtr="0" compatLnSpc="1">
            <a:prstTxWarp prst="textNoShape">
              <a:avLst/>
            </a:prstTxWarp>
          </a:bodyPr>
          <a:lstStyle/>
          <a:p>
            <a:pPr algn="ctr" defTabSz="914355">
              <a:defRPr/>
            </a:pPr>
            <a:r>
              <a:rPr lang="en-US" sz="1400" err="1">
                <a:solidFill>
                  <a:srgbClr val="1A1A1A"/>
                </a:solidFill>
                <a:latin typeface="Segoe UI"/>
              </a:rPr>
              <a:t>QnA</a:t>
            </a:r>
            <a:r>
              <a:rPr lang="en-US" sz="1400">
                <a:solidFill>
                  <a:srgbClr val="1A1A1A"/>
                </a:solidFill>
                <a:latin typeface="Segoe UI"/>
              </a:rPr>
              <a:t> </a:t>
            </a:r>
          </a:p>
        </p:txBody>
      </p:sp>
      <p:sp>
        <p:nvSpPr>
          <p:cNvPr id="893" name="TextBox 892">
            <a:extLst>
              <a:ext uri="{FF2B5EF4-FFF2-40B4-BE49-F238E27FC236}">
                <a16:creationId xmlns:a16="http://schemas.microsoft.com/office/drawing/2014/main" id="{0C5CA41B-C6DE-4A3B-A557-9A8248B7798B}"/>
              </a:ext>
            </a:extLst>
          </p:cNvPr>
          <p:cNvSpPr txBox="1"/>
          <p:nvPr/>
        </p:nvSpPr>
        <p:spPr>
          <a:xfrm>
            <a:off x="9779280" y="4060081"/>
            <a:ext cx="188404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55">
              <a:defRPr/>
            </a:pPr>
            <a:r>
              <a:rPr lang="en-US" sz="1600" b="1">
                <a:solidFill>
                  <a:srgbClr val="1A1A1A"/>
                </a:solidFill>
                <a:latin typeface="Segoe UI"/>
              </a:rPr>
              <a:t>BOT COMPONENTS</a:t>
            </a:r>
          </a:p>
        </p:txBody>
      </p:sp>
      <p:grpSp>
        <p:nvGrpSpPr>
          <p:cNvPr id="864" name="Group 863">
            <a:extLst>
              <a:ext uri="{FF2B5EF4-FFF2-40B4-BE49-F238E27FC236}">
                <a16:creationId xmlns:a16="http://schemas.microsoft.com/office/drawing/2014/main" id="{CD57322A-54A9-4C8C-BF3E-1A98F195378B}"/>
              </a:ext>
            </a:extLst>
          </p:cNvPr>
          <p:cNvGrpSpPr/>
          <p:nvPr/>
        </p:nvGrpSpPr>
        <p:grpSpPr>
          <a:xfrm>
            <a:off x="3284844" y="5127482"/>
            <a:ext cx="930790" cy="930790"/>
            <a:chOff x="990601" y="4584701"/>
            <a:chExt cx="1778000" cy="1778000"/>
          </a:xfrm>
        </p:grpSpPr>
        <p:sp>
          <p:nvSpPr>
            <p:cNvPr id="865" name="Oval 864">
              <a:extLst>
                <a:ext uri="{FF2B5EF4-FFF2-40B4-BE49-F238E27FC236}">
                  <a16:creationId xmlns:a16="http://schemas.microsoft.com/office/drawing/2014/main" id="{385E51E2-E6BC-4EBA-A65B-622490985BE1}"/>
                </a:ext>
              </a:extLst>
            </p:cNvPr>
            <p:cNvSpPr/>
            <p:nvPr/>
          </p:nvSpPr>
          <p:spPr bwMode="auto">
            <a:xfrm>
              <a:off x="990601" y="4584701"/>
              <a:ext cx="1778000" cy="1778000"/>
            </a:xfrm>
            <a:prstGeom prst="ellipse">
              <a:avLst/>
            </a:prstGeom>
            <a:solidFill>
              <a:schemeClr val="tx1"/>
            </a:solidFill>
            <a:ln w="15875" cap="sq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400" err="1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866" name="people_4" title="Icon of a person">
              <a:extLst>
                <a:ext uri="{FF2B5EF4-FFF2-40B4-BE49-F238E27FC236}">
                  <a16:creationId xmlns:a16="http://schemas.microsoft.com/office/drawing/2014/main" id="{7892C7ED-0F39-4FA0-9CB6-D14FF91D11A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62647" y="4917298"/>
              <a:ext cx="838476" cy="937401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noFill/>
            <a:ln w="28575" cap="sq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765"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898F207-2FD2-40C7-8FCB-7B39F2B1AB3A}"/>
              </a:ext>
            </a:extLst>
          </p:cNvPr>
          <p:cNvSpPr/>
          <p:nvPr/>
        </p:nvSpPr>
        <p:spPr>
          <a:xfrm>
            <a:off x="9087332" y="2000352"/>
            <a:ext cx="17862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24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1A1A1A"/>
                </a:solidFill>
                <a:latin typeface="Segoe UI"/>
              </a:rPr>
              <a:t>Evaluate &amp; Improve</a:t>
            </a:r>
          </a:p>
        </p:txBody>
      </p:sp>
      <p:pic>
        <p:nvPicPr>
          <p:cNvPr id="4" name="Graphic 3" descr="Teacher">
            <a:extLst>
              <a:ext uri="{FF2B5EF4-FFF2-40B4-BE49-F238E27FC236}">
                <a16:creationId xmlns:a16="http://schemas.microsoft.com/office/drawing/2014/main" id="{8214D0B2-E0BD-4891-984F-30CD3E4C64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72832" y="1249046"/>
            <a:ext cx="914386" cy="914386"/>
          </a:xfrm>
          <a:prstGeom prst="rect">
            <a:avLst/>
          </a:prstGeom>
        </p:spPr>
      </p:pic>
      <p:sp>
        <p:nvSpPr>
          <p:cNvPr id="91" name="Title 1">
            <a:extLst>
              <a:ext uri="{FF2B5EF4-FFF2-40B4-BE49-F238E27FC236}">
                <a16:creationId xmlns:a16="http://schemas.microsoft.com/office/drawing/2014/main" id="{E6DD6E94-20C1-4B6E-83D0-D48B1E7889A2}"/>
              </a:ext>
            </a:extLst>
          </p:cNvPr>
          <p:cNvSpPr txBox="1">
            <a:spLocks/>
          </p:cNvSpPr>
          <p:nvPr/>
        </p:nvSpPr>
        <p:spPr>
          <a:xfrm>
            <a:off x="243242" y="59974"/>
            <a:ext cx="11018351" cy="55399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731">
              <a:defRPr/>
            </a:pPr>
            <a:r>
              <a:rPr lang="en-US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 Semibold"/>
              </a:rPr>
              <a:t>Dispatch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CF66EA-E2A5-480C-A4D8-1B010D6C69CA}"/>
              </a:ext>
            </a:extLst>
          </p:cNvPr>
          <p:cNvSpPr/>
          <p:nvPr/>
        </p:nvSpPr>
        <p:spPr>
          <a:xfrm>
            <a:off x="7769357" y="476888"/>
            <a:ext cx="38031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55">
              <a:defRPr/>
            </a:pPr>
            <a:r>
              <a:rPr lang="en-US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Find conflicts &amp; overlap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9EF6565-B943-4F4C-A1F9-DBA71CA3A89C}"/>
              </a:ext>
            </a:extLst>
          </p:cNvPr>
          <p:cNvCxnSpPr/>
          <p:nvPr/>
        </p:nvCxnSpPr>
        <p:spPr>
          <a:xfrm>
            <a:off x="7769357" y="948304"/>
            <a:ext cx="3803182" cy="0"/>
          </a:xfrm>
          <a:prstGeom prst="line">
            <a:avLst/>
          </a:prstGeom>
          <a:ln w="1270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90B307DD-3B52-4635-B8BB-B5BA024F4A21}"/>
              </a:ext>
            </a:extLst>
          </p:cNvPr>
          <p:cNvCxnSpPr>
            <a:cxnSpLocks/>
          </p:cNvCxnSpPr>
          <p:nvPr/>
        </p:nvCxnSpPr>
        <p:spPr>
          <a:xfrm>
            <a:off x="3787513" y="6057610"/>
            <a:ext cx="0" cy="0"/>
          </a:xfrm>
          <a:prstGeom prst="line">
            <a:avLst/>
          </a:prstGeom>
          <a:ln w="12700">
            <a:headEnd type="none" w="lg" len="med"/>
            <a:tailEnd type="none" w="lg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rrow: Right 6">
            <a:extLst>
              <a:ext uri="{FF2B5EF4-FFF2-40B4-BE49-F238E27FC236}">
                <a16:creationId xmlns:a16="http://schemas.microsoft.com/office/drawing/2014/main" id="{565265B1-2B85-4C46-B449-EAD0404483B1}"/>
              </a:ext>
            </a:extLst>
          </p:cNvPr>
          <p:cNvSpPr/>
          <p:nvPr/>
        </p:nvSpPr>
        <p:spPr bwMode="auto">
          <a:xfrm>
            <a:off x="3970908" y="2537293"/>
            <a:ext cx="1373378" cy="553982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6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Graphic 8" descr="Gears">
            <a:extLst>
              <a:ext uri="{FF2B5EF4-FFF2-40B4-BE49-F238E27FC236}">
                <a16:creationId xmlns:a16="http://schemas.microsoft.com/office/drawing/2014/main" id="{E30566FC-4C11-4794-BC3C-741CE683EB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90713" y="2015433"/>
            <a:ext cx="592034" cy="59203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B11C973-3B0C-4A89-BB55-EAD234424E2D}"/>
              </a:ext>
            </a:extLst>
          </p:cNvPr>
          <p:cNvSpPr/>
          <p:nvPr/>
        </p:nvSpPr>
        <p:spPr bwMode="auto">
          <a:xfrm>
            <a:off x="5910849" y="2279148"/>
            <a:ext cx="1614589" cy="92331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Dispatch Mod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919FB1-99A4-4EDF-B78A-3BF713E72705}"/>
              </a:ext>
            </a:extLst>
          </p:cNvPr>
          <p:cNvSpPr/>
          <p:nvPr/>
        </p:nvSpPr>
        <p:spPr bwMode="auto">
          <a:xfrm>
            <a:off x="5949809" y="5042145"/>
            <a:ext cx="1057292" cy="401146"/>
          </a:xfrm>
          <a:prstGeom prst="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78" tIns="146302" rIns="182878" bIns="1463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4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Dispatch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09E7587-A03F-472F-B0F1-9A7DAF138184}"/>
              </a:ext>
            </a:extLst>
          </p:cNvPr>
          <p:cNvCxnSpPr>
            <a:cxnSpLocks/>
          </p:cNvCxnSpPr>
          <p:nvPr/>
        </p:nvCxnSpPr>
        <p:spPr>
          <a:xfrm>
            <a:off x="6432523" y="3429002"/>
            <a:ext cx="0" cy="1613144"/>
          </a:xfrm>
          <a:prstGeom prst="straightConnector1">
            <a:avLst/>
          </a:prstGeom>
          <a:ln w="12700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9622E77-C236-48B4-A000-11C9B5FC48F3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4261711" y="5236563"/>
            <a:ext cx="1688098" cy="6156"/>
          </a:xfrm>
          <a:prstGeom prst="straightConnector1">
            <a:avLst/>
          </a:prstGeom>
          <a:ln w="12700">
            <a:solidFill>
              <a:schemeClr val="bg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72E359B-D8DE-480F-B3D4-28D1F9BDDE1E}"/>
              </a:ext>
            </a:extLst>
          </p:cNvPr>
          <p:cNvSpPr txBox="1"/>
          <p:nvPr/>
        </p:nvSpPr>
        <p:spPr>
          <a:xfrm>
            <a:off x="4443201" y="4886310"/>
            <a:ext cx="11327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55">
              <a:defRPr/>
            </a:pPr>
            <a:r>
              <a:rPr lang="en-US" sz="200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Utterance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C28EF897-6E17-4DED-9B36-69FAFBFF6D2A}"/>
              </a:ext>
            </a:extLst>
          </p:cNvPr>
          <p:cNvCxnSpPr>
            <a:cxnSpLocks/>
          </p:cNvCxnSpPr>
          <p:nvPr/>
        </p:nvCxnSpPr>
        <p:spPr>
          <a:xfrm flipH="1">
            <a:off x="4290715" y="5792330"/>
            <a:ext cx="2764909" cy="0"/>
          </a:xfrm>
          <a:prstGeom prst="straightConnector1">
            <a:avLst/>
          </a:prstGeom>
          <a:ln w="12700">
            <a:solidFill>
              <a:schemeClr val="bg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77912A5-331A-4808-B0D4-68806688A234}"/>
              </a:ext>
            </a:extLst>
          </p:cNvPr>
          <p:cNvSpPr txBox="1"/>
          <p:nvPr/>
        </p:nvSpPr>
        <p:spPr>
          <a:xfrm>
            <a:off x="4418489" y="5828364"/>
            <a:ext cx="12386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55">
              <a:defRPr/>
            </a:pPr>
            <a:r>
              <a:rPr lang="en-US" sz="200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Respons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51A3658-AB1C-4135-B7C7-957DFD37159D}"/>
              </a:ext>
            </a:extLst>
          </p:cNvPr>
          <p:cNvSpPr txBox="1"/>
          <p:nvPr/>
        </p:nvSpPr>
        <p:spPr>
          <a:xfrm>
            <a:off x="7055624" y="4233465"/>
            <a:ext cx="12980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55">
              <a:defRPr/>
            </a:pPr>
            <a:r>
              <a:rPr lang="en-US" sz="200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/>
              </a:rPr>
              <a:t>Dispatcher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8EFC8979-6CA7-4791-ADC4-71BB10CD3B7E}"/>
              </a:ext>
            </a:extLst>
          </p:cNvPr>
          <p:cNvCxnSpPr/>
          <p:nvPr/>
        </p:nvCxnSpPr>
        <p:spPr>
          <a:xfrm flipV="1">
            <a:off x="7840644" y="1979401"/>
            <a:ext cx="1514322" cy="746538"/>
          </a:xfrm>
          <a:prstGeom prst="straightConnector1">
            <a:avLst/>
          </a:prstGeom>
          <a:ln w="12700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707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57B20E-FC47-4C1F-B31E-2E2961446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DEMO</a:t>
            </a:r>
            <a:br>
              <a:rPr lang="en-US"/>
            </a:br>
            <a:r>
              <a:rPr lang="en-US" err="1"/>
              <a:t>QnAMaker</a:t>
            </a:r>
            <a:r>
              <a:rPr lang="en-US"/>
              <a:t>; LUIS</a:t>
            </a:r>
          </a:p>
        </p:txBody>
      </p:sp>
    </p:spTree>
    <p:extLst>
      <p:ext uri="{BB962C8B-B14F-4D97-AF65-F5344CB8AC3E}">
        <p14:creationId xmlns:p14="http://schemas.microsoft.com/office/powerpoint/2010/main" val="11657483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335841" y="232291"/>
            <a:ext cx="11429516" cy="761968"/>
          </a:xfrm>
        </p:spPr>
        <p:txBody>
          <a:bodyPr>
            <a:normAutofit/>
          </a:bodyPr>
          <a:lstStyle/>
          <a:p>
            <a:r>
              <a:rPr lang="en-US"/>
              <a:t>Adding Personality Cha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D167689-4B24-4247-A5DA-6676FC9C2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841" y="1274254"/>
            <a:ext cx="8715709" cy="169652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442DE32-466C-4257-9794-89B05E0F39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375" y="3472806"/>
            <a:ext cx="9667727" cy="89533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289A01-4F7C-41DA-B480-E887FB685F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842" y="4870176"/>
            <a:ext cx="10379591" cy="99356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050608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6D83DBE-D408-45D4-9936-9949E5D51D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9266" y="1326859"/>
            <a:ext cx="3047614" cy="4513208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Bot Personality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3EEB693-5CDD-4546-9CE9-AC2FAF8BCE36}"/>
              </a:ext>
            </a:extLst>
          </p:cNvPr>
          <p:cNvSpPr txBox="1"/>
          <p:nvPr/>
        </p:nvSpPr>
        <p:spPr>
          <a:xfrm>
            <a:off x="1441780" y="5948121"/>
            <a:ext cx="2963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89">
              <a:defRPr/>
            </a:pPr>
            <a:r>
              <a:rPr lang="en-US" b="1">
                <a:latin typeface="Segoe UI Light" panose="020B0502040204020203" pitchFamily="34" charset="0"/>
                <a:cs typeface="Segoe UI Light" panose="020B0502040204020203" pitchFamily="34" charset="0"/>
              </a:rPr>
              <a:t>Professional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62C98B-B7C2-4ACC-A84D-4364555D1747}"/>
              </a:ext>
            </a:extLst>
          </p:cNvPr>
          <p:cNvSpPr/>
          <p:nvPr/>
        </p:nvSpPr>
        <p:spPr>
          <a:xfrm>
            <a:off x="7744709" y="3220284"/>
            <a:ext cx="1434497" cy="55399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9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69FA5D0-510E-4929-B2D6-36F4045ACDD8}"/>
              </a:ext>
            </a:extLst>
          </p:cNvPr>
          <p:cNvSpPr/>
          <p:nvPr/>
        </p:nvSpPr>
        <p:spPr>
          <a:xfrm>
            <a:off x="7744709" y="4259512"/>
            <a:ext cx="3137436" cy="55399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9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A253E91-9DD8-4763-87BB-64BE4AB89D89}"/>
              </a:ext>
            </a:extLst>
          </p:cNvPr>
          <p:cNvSpPr/>
          <p:nvPr/>
        </p:nvSpPr>
        <p:spPr>
          <a:xfrm>
            <a:off x="7744710" y="5234591"/>
            <a:ext cx="1619050" cy="553989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9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8332C2-ACC6-462F-BF22-7C085FD6333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78" r="1984"/>
          <a:stretch/>
        </p:blipFill>
        <p:spPr>
          <a:xfrm>
            <a:off x="1399678" y="1326859"/>
            <a:ext cx="3047614" cy="4513208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433E9D2-573B-44E1-8EA2-0EC53991756B}"/>
              </a:ext>
            </a:extLst>
          </p:cNvPr>
          <p:cNvSpPr txBox="1"/>
          <p:nvPr/>
        </p:nvSpPr>
        <p:spPr>
          <a:xfrm>
            <a:off x="8320317" y="5948121"/>
            <a:ext cx="22655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89">
              <a:defRPr/>
            </a:pPr>
            <a:r>
              <a:rPr lang="en-US" b="1">
                <a:latin typeface="Segoe UI Light" panose="020B0502040204020203" pitchFamily="34" charset="0"/>
                <a:cs typeface="Segoe UI Light" panose="020B0502040204020203" pitchFamily="34" charset="0"/>
              </a:rPr>
              <a:t>Friend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4065852-10CE-44AA-90A0-3CB00E5E6585}"/>
              </a:ext>
            </a:extLst>
          </p:cNvPr>
          <p:cNvSpPr/>
          <p:nvPr/>
        </p:nvSpPr>
        <p:spPr>
          <a:xfrm>
            <a:off x="1256069" y="3355037"/>
            <a:ext cx="1434497" cy="55399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9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8FC4069-7169-4640-A86D-B6D5BBB41A9B}"/>
              </a:ext>
            </a:extLst>
          </p:cNvPr>
          <p:cNvSpPr/>
          <p:nvPr/>
        </p:nvSpPr>
        <p:spPr>
          <a:xfrm>
            <a:off x="1256069" y="4259512"/>
            <a:ext cx="1619050" cy="55399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9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3C1916-142B-4300-9406-A83F1A99D086}"/>
              </a:ext>
            </a:extLst>
          </p:cNvPr>
          <p:cNvSpPr/>
          <p:nvPr/>
        </p:nvSpPr>
        <p:spPr>
          <a:xfrm>
            <a:off x="1256069" y="5234591"/>
            <a:ext cx="2268847" cy="553989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9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7FD4F24-5F83-4D2D-8B0C-09196F80A78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9117" t="25605" r="17468" b="36811"/>
          <a:stretch/>
        </p:blipFill>
        <p:spPr>
          <a:xfrm>
            <a:off x="5201538" y="2066289"/>
            <a:ext cx="1973483" cy="257749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E2C3DD-0AAA-49FB-B54A-BDBE273DE9F8}"/>
              </a:ext>
            </a:extLst>
          </p:cNvPr>
          <p:cNvSpPr/>
          <p:nvPr/>
        </p:nvSpPr>
        <p:spPr>
          <a:xfrm>
            <a:off x="2538775" y="6341778"/>
            <a:ext cx="8438105" cy="385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905">
                <a:hlinkClick r:id="rId6"/>
              </a:rPr>
              <a:t>https://www.microsoft.com/en-us/research/project/personality-chat/</a:t>
            </a:r>
            <a:endParaRPr lang="en-US" sz="1905"/>
          </a:p>
        </p:txBody>
      </p:sp>
    </p:spTree>
    <p:extLst>
      <p:ext uri="{BB962C8B-B14F-4D97-AF65-F5344CB8AC3E}">
        <p14:creationId xmlns:p14="http://schemas.microsoft.com/office/powerpoint/2010/main" val="25525548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/>
          <p:cNvSpPr txBox="1"/>
          <p:nvPr/>
        </p:nvSpPr>
        <p:spPr>
          <a:xfrm>
            <a:off x="617667" y="5168864"/>
            <a:ext cx="2811328" cy="338549"/>
          </a:xfrm>
          <a:prstGeom prst="rect">
            <a:avLst/>
          </a:prstGeom>
          <a:noFill/>
        </p:spPr>
        <p:txBody>
          <a:bodyPr wrap="square" lIns="91438" tIns="45719" rIns="91438" bIns="45719" rtlCol="0" anchor="ctr">
            <a:noAutofit/>
          </a:bodyPr>
          <a:lstStyle>
            <a:defPPr>
              <a:defRPr lang="en-US"/>
            </a:defPPr>
            <a:lvl1pPr algn="ctr" defTabSz="913841">
              <a:defRPr sz="1600" b="1">
                <a:cs typeface="Segoe UI Semibold" panose="020B0702040204020203" pitchFamily="34" charset="0"/>
              </a:defRPr>
            </a:lvl1pPr>
          </a:lstStyle>
          <a:p>
            <a:pPr defTabSz="913829">
              <a:defRPr/>
            </a:pPr>
            <a:r>
              <a:rPr lang="en-US" b="0">
                <a:solidFill>
                  <a:srgbClr val="E3008C"/>
                </a:solidFill>
                <a:latin typeface="Segoe UI Semibold"/>
              </a:rPr>
              <a:t>Bing Speech API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96275" y="5495684"/>
            <a:ext cx="28541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52">
              <a:defRPr/>
            </a:pPr>
            <a: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vert speech to text and back again, and understand its intent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670943" y="5168864"/>
            <a:ext cx="2560280" cy="338549"/>
          </a:xfrm>
          <a:prstGeom prst="rect">
            <a:avLst/>
          </a:prstGeom>
          <a:noFill/>
        </p:spPr>
        <p:txBody>
          <a:bodyPr wrap="square" lIns="91438" tIns="45719" rIns="91438" bIns="45719" rtlCol="0" anchor="ctr">
            <a:noAutofit/>
          </a:bodyPr>
          <a:lstStyle>
            <a:defPPr>
              <a:defRPr lang="en-US"/>
            </a:defPPr>
            <a:lvl1pPr algn="ctr" defTabSz="913841">
              <a:defRPr sz="1600" b="1">
                <a:cs typeface="Segoe UI Semibold" panose="020B0702040204020203" pitchFamily="34" charset="0"/>
              </a:defRPr>
            </a:lvl1pPr>
          </a:lstStyle>
          <a:p>
            <a:pPr defTabSz="913829">
              <a:defRPr/>
            </a:pPr>
            <a:r>
              <a:rPr lang="en-US" b="0">
                <a:solidFill>
                  <a:srgbClr val="E3008C"/>
                </a:solidFill>
                <a:latin typeface="Segoe UI Semibold"/>
              </a:rPr>
              <a:t>Speaker Recognition API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670943" y="5495684"/>
            <a:ext cx="25602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52">
              <a:defRPr/>
            </a:pPr>
            <a: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ive your app the ability </a:t>
            </a:r>
            <a:b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know who's talking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141181" y="5168864"/>
            <a:ext cx="2468842" cy="338549"/>
          </a:xfrm>
          <a:prstGeom prst="rect">
            <a:avLst/>
          </a:prstGeom>
          <a:noFill/>
        </p:spPr>
        <p:txBody>
          <a:bodyPr wrap="square" lIns="91438" tIns="45719" rIns="91438" bIns="45719" rtlCol="0" anchor="ctr">
            <a:noAutofit/>
          </a:bodyPr>
          <a:lstStyle>
            <a:defPPr>
              <a:defRPr lang="en-US"/>
            </a:defPPr>
            <a:lvl1pPr algn="ctr" defTabSz="913841">
              <a:defRPr sz="1600" b="1">
                <a:cs typeface="Segoe UI Semibold" panose="020B0702040204020203" pitchFamily="34" charset="0"/>
              </a:defRPr>
            </a:lvl1pPr>
          </a:lstStyle>
          <a:p>
            <a:pPr defTabSz="913829">
              <a:defRPr/>
            </a:pPr>
            <a:r>
              <a:rPr lang="en-US" b="0">
                <a:solidFill>
                  <a:srgbClr val="E3008C"/>
                </a:solidFill>
                <a:latin typeface="Segoe UI Semibold"/>
              </a:rPr>
              <a:t>Custom Speech Servic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078347" y="5475985"/>
            <a:ext cx="28051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52">
              <a:defRPr/>
            </a:pPr>
            <a: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ne-tune speech recognition for anyone, anyw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D0940ED-7556-4A80-B7D9-A7A70113F69F}"/>
              </a:ext>
            </a:extLst>
          </p:cNvPr>
          <p:cNvGrpSpPr/>
          <p:nvPr/>
        </p:nvGrpSpPr>
        <p:grpSpPr>
          <a:xfrm>
            <a:off x="1752472" y="4313742"/>
            <a:ext cx="541716" cy="463583"/>
            <a:chOff x="1752405" y="4348480"/>
            <a:chExt cx="541724" cy="463590"/>
          </a:xfrm>
          <a:solidFill>
            <a:schemeClr val="accent1"/>
          </a:solidFill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1B63226B-362D-4FCD-9C21-0526D5D9F8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6136" y="4510174"/>
              <a:ext cx="294463" cy="66887"/>
            </a:xfrm>
            <a:custGeom>
              <a:avLst/>
              <a:gdLst>
                <a:gd name="T0" fmla="*/ 80 w 705"/>
                <a:gd name="T1" fmla="*/ 0 h 160"/>
                <a:gd name="T2" fmla="*/ 137 w 705"/>
                <a:gd name="T3" fmla="*/ 23 h 160"/>
                <a:gd name="T4" fmla="*/ 159 w 705"/>
                <a:gd name="T5" fmla="*/ 80 h 160"/>
                <a:gd name="T6" fmla="*/ 137 w 705"/>
                <a:gd name="T7" fmla="*/ 137 h 160"/>
                <a:gd name="T8" fmla="*/ 80 w 705"/>
                <a:gd name="T9" fmla="*/ 160 h 160"/>
                <a:gd name="T10" fmla="*/ 22 w 705"/>
                <a:gd name="T11" fmla="*/ 136 h 160"/>
                <a:gd name="T12" fmla="*/ 0 w 705"/>
                <a:gd name="T13" fmla="*/ 80 h 160"/>
                <a:gd name="T14" fmla="*/ 23 w 705"/>
                <a:gd name="T15" fmla="*/ 23 h 160"/>
                <a:gd name="T16" fmla="*/ 80 w 705"/>
                <a:gd name="T17" fmla="*/ 0 h 160"/>
                <a:gd name="T18" fmla="*/ 353 w 705"/>
                <a:gd name="T19" fmla="*/ 0 h 160"/>
                <a:gd name="T20" fmla="*/ 410 w 705"/>
                <a:gd name="T21" fmla="*/ 23 h 160"/>
                <a:gd name="T22" fmla="*/ 432 w 705"/>
                <a:gd name="T23" fmla="*/ 80 h 160"/>
                <a:gd name="T24" fmla="*/ 410 w 705"/>
                <a:gd name="T25" fmla="*/ 137 h 160"/>
                <a:gd name="T26" fmla="*/ 353 w 705"/>
                <a:gd name="T27" fmla="*/ 160 h 160"/>
                <a:gd name="T28" fmla="*/ 295 w 705"/>
                <a:gd name="T29" fmla="*/ 136 h 160"/>
                <a:gd name="T30" fmla="*/ 273 w 705"/>
                <a:gd name="T31" fmla="*/ 80 h 160"/>
                <a:gd name="T32" fmla="*/ 296 w 705"/>
                <a:gd name="T33" fmla="*/ 23 h 160"/>
                <a:gd name="T34" fmla="*/ 353 w 705"/>
                <a:gd name="T35" fmla="*/ 0 h 160"/>
                <a:gd name="T36" fmla="*/ 626 w 705"/>
                <a:gd name="T37" fmla="*/ 0 h 160"/>
                <a:gd name="T38" fmla="*/ 683 w 705"/>
                <a:gd name="T39" fmla="*/ 23 h 160"/>
                <a:gd name="T40" fmla="*/ 705 w 705"/>
                <a:gd name="T41" fmla="*/ 80 h 160"/>
                <a:gd name="T42" fmla="*/ 683 w 705"/>
                <a:gd name="T43" fmla="*/ 137 h 160"/>
                <a:gd name="T44" fmla="*/ 626 w 705"/>
                <a:gd name="T45" fmla="*/ 160 h 160"/>
                <a:gd name="T46" fmla="*/ 568 w 705"/>
                <a:gd name="T47" fmla="*/ 136 h 160"/>
                <a:gd name="T48" fmla="*/ 546 w 705"/>
                <a:gd name="T49" fmla="*/ 80 h 160"/>
                <a:gd name="T50" fmla="*/ 569 w 705"/>
                <a:gd name="T51" fmla="*/ 23 h 160"/>
                <a:gd name="T52" fmla="*/ 626 w 705"/>
                <a:gd name="T5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5" h="160">
                  <a:moveTo>
                    <a:pt x="80" y="0"/>
                  </a:moveTo>
                  <a:cubicBezTo>
                    <a:pt x="103" y="0"/>
                    <a:pt x="122" y="8"/>
                    <a:pt x="137" y="23"/>
                  </a:cubicBezTo>
                  <a:cubicBezTo>
                    <a:pt x="152" y="38"/>
                    <a:pt x="159" y="57"/>
                    <a:pt x="159" y="80"/>
                  </a:cubicBezTo>
                  <a:cubicBezTo>
                    <a:pt x="159" y="103"/>
                    <a:pt x="152" y="122"/>
                    <a:pt x="137" y="137"/>
                  </a:cubicBezTo>
                  <a:cubicBezTo>
                    <a:pt x="122" y="152"/>
                    <a:pt x="103" y="160"/>
                    <a:pt x="80" y="160"/>
                  </a:cubicBezTo>
                  <a:cubicBezTo>
                    <a:pt x="57" y="160"/>
                    <a:pt x="37" y="152"/>
                    <a:pt x="22" y="136"/>
                  </a:cubicBezTo>
                  <a:cubicBezTo>
                    <a:pt x="7" y="121"/>
                    <a:pt x="0" y="102"/>
                    <a:pt x="0" y="80"/>
                  </a:cubicBezTo>
                  <a:cubicBezTo>
                    <a:pt x="0" y="56"/>
                    <a:pt x="7" y="37"/>
                    <a:pt x="23" y="23"/>
                  </a:cubicBezTo>
                  <a:cubicBezTo>
                    <a:pt x="38" y="8"/>
                    <a:pt x="57" y="0"/>
                    <a:pt x="80" y="0"/>
                  </a:cubicBezTo>
                  <a:close/>
                  <a:moveTo>
                    <a:pt x="353" y="0"/>
                  </a:moveTo>
                  <a:cubicBezTo>
                    <a:pt x="376" y="0"/>
                    <a:pt x="395" y="8"/>
                    <a:pt x="410" y="23"/>
                  </a:cubicBezTo>
                  <a:cubicBezTo>
                    <a:pt x="425" y="38"/>
                    <a:pt x="432" y="57"/>
                    <a:pt x="432" y="80"/>
                  </a:cubicBezTo>
                  <a:cubicBezTo>
                    <a:pt x="432" y="103"/>
                    <a:pt x="425" y="122"/>
                    <a:pt x="410" y="137"/>
                  </a:cubicBezTo>
                  <a:cubicBezTo>
                    <a:pt x="395" y="152"/>
                    <a:pt x="376" y="160"/>
                    <a:pt x="353" y="160"/>
                  </a:cubicBezTo>
                  <a:cubicBezTo>
                    <a:pt x="330" y="160"/>
                    <a:pt x="310" y="152"/>
                    <a:pt x="295" y="136"/>
                  </a:cubicBezTo>
                  <a:cubicBezTo>
                    <a:pt x="280" y="121"/>
                    <a:pt x="273" y="102"/>
                    <a:pt x="273" y="80"/>
                  </a:cubicBezTo>
                  <a:cubicBezTo>
                    <a:pt x="273" y="56"/>
                    <a:pt x="280" y="37"/>
                    <a:pt x="296" y="23"/>
                  </a:cubicBezTo>
                  <a:cubicBezTo>
                    <a:pt x="311" y="8"/>
                    <a:pt x="330" y="0"/>
                    <a:pt x="353" y="0"/>
                  </a:cubicBezTo>
                  <a:close/>
                  <a:moveTo>
                    <a:pt x="626" y="0"/>
                  </a:moveTo>
                  <a:cubicBezTo>
                    <a:pt x="649" y="0"/>
                    <a:pt x="668" y="8"/>
                    <a:pt x="683" y="23"/>
                  </a:cubicBezTo>
                  <a:cubicBezTo>
                    <a:pt x="698" y="38"/>
                    <a:pt x="705" y="57"/>
                    <a:pt x="705" y="80"/>
                  </a:cubicBezTo>
                  <a:cubicBezTo>
                    <a:pt x="705" y="103"/>
                    <a:pt x="698" y="122"/>
                    <a:pt x="683" y="137"/>
                  </a:cubicBezTo>
                  <a:cubicBezTo>
                    <a:pt x="668" y="152"/>
                    <a:pt x="649" y="160"/>
                    <a:pt x="626" y="160"/>
                  </a:cubicBezTo>
                  <a:cubicBezTo>
                    <a:pt x="603" y="160"/>
                    <a:pt x="584" y="152"/>
                    <a:pt x="568" y="136"/>
                  </a:cubicBezTo>
                  <a:cubicBezTo>
                    <a:pt x="553" y="121"/>
                    <a:pt x="546" y="102"/>
                    <a:pt x="546" y="80"/>
                  </a:cubicBezTo>
                  <a:cubicBezTo>
                    <a:pt x="546" y="56"/>
                    <a:pt x="553" y="37"/>
                    <a:pt x="569" y="23"/>
                  </a:cubicBezTo>
                  <a:cubicBezTo>
                    <a:pt x="584" y="8"/>
                    <a:pt x="603" y="0"/>
                    <a:pt x="6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C466FF26-9CF8-4195-AC84-7F96068E1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2405" y="4348480"/>
              <a:ext cx="541724" cy="463590"/>
            </a:xfrm>
            <a:custGeom>
              <a:avLst/>
              <a:gdLst>
                <a:gd name="T0" fmla="*/ 1206 w 1297"/>
                <a:gd name="T1" fmla="*/ 479 h 1107"/>
                <a:gd name="T2" fmla="*/ 854 w 1297"/>
                <a:gd name="T3" fmla="*/ 839 h 1107"/>
                <a:gd name="T4" fmla="*/ 443 w 1297"/>
                <a:gd name="T5" fmla="*/ 839 h 1107"/>
                <a:gd name="T6" fmla="*/ 418 w 1297"/>
                <a:gd name="T7" fmla="*/ 839 h 1107"/>
                <a:gd name="T8" fmla="*/ 189 w 1297"/>
                <a:gd name="T9" fmla="*/ 937 h 1107"/>
                <a:gd name="T10" fmla="*/ 251 w 1297"/>
                <a:gd name="T11" fmla="*/ 781 h 1107"/>
                <a:gd name="T12" fmla="*/ 91 w 1297"/>
                <a:gd name="T13" fmla="*/ 479 h 1107"/>
                <a:gd name="T14" fmla="*/ 91 w 1297"/>
                <a:gd name="T15" fmla="*/ 450 h 1107"/>
                <a:gd name="T16" fmla="*/ 443 w 1297"/>
                <a:gd name="T17" fmla="*/ 90 h 1107"/>
                <a:gd name="T18" fmla="*/ 854 w 1297"/>
                <a:gd name="T19" fmla="*/ 90 h 1107"/>
                <a:gd name="T20" fmla="*/ 1206 w 1297"/>
                <a:gd name="T21" fmla="*/ 450 h 1107"/>
                <a:gd name="T22" fmla="*/ 1206 w 1297"/>
                <a:gd name="T23" fmla="*/ 479 h 1107"/>
                <a:gd name="T24" fmla="*/ 854 w 1297"/>
                <a:gd name="T25" fmla="*/ 0 h 1107"/>
                <a:gd name="T26" fmla="*/ 443 w 1297"/>
                <a:gd name="T27" fmla="*/ 0 h 1107"/>
                <a:gd name="T28" fmla="*/ 0 w 1297"/>
                <a:gd name="T29" fmla="*/ 450 h 1107"/>
                <a:gd name="T30" fmla="*/ 0 w 1297"/>
                <a:gd name="T31" fmla="*/ 479 h 1107"/>
                <a:gd name="T32" fmla="*/ 142 w 1297"/>
                <a:gd name="T33" fmla="*/ 810 h 1107"/>
                <a:gd name="T34" fmla="*/ 23 w 1297"/>
                <a:gd name="T35" fmla="*/ 1107 h 1107"/>
                <a:gd name="T36" fmla="*/ 435 w 1297"/>
                <a:gd name="T37" fmla="*/ 930 h 1107"/>
                <a:gd name="T38" fmla="*/ 443 w 1297"/>
                <a:gd name="T39" fmla="*/ 930 h 1107"/>
                <a:gd name="T40" fmla="*/ 854 w 1297"/>
                <a:gd name="T41" fmla="*/ 930 h 1107"/>
                <a:gd name="T42" fmla="*/ 1297 w 1297"/>
                <a:gd name="T43" fmla="*/ 479 h 1107"/>
                <a:gd name="T44" fmla="*/ 1297 w 1297"/>
                <a:gd name="T45" fmla="*/ 450 h 1107"/>
                <a:gd name="T46" fmla="*/ 854 w 1297"/>
                <a:gd name="T47" fmla="*/ 0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97" h="1107">
                  <a:moveTo>
                    <a:pt x="1206" y="479"/>
                  </a:moveTo>
                  <a:cubicBezTo>
                    <a:pt x="1206" y="677"/>
                    <a:pt x="1048" y="839"/>
                    <a:pt x="854" y="839"/>
                  </a:cubicBezTo>
                  <a:cubicBezTo>
                    <a:pt x="443" y="839"/>
                    <a:pt x="443" y="839"/>
                    <a:pt x="443" y="839"/>
                  </a:cubicBezTo>
                  <a:cubicBezTo>
                    <a:pt x="435" y="839"/>
                    <a:pt x="427" y="839"/>
                    <a:pt x="418" y="839"/>
                  </a:cubicBezTo>
                  <a:cubicBezTo>
                    <a:pt x="189" y="937"/>
                    <a:pt x="189" y="937"/>
                    <a:pt x="189" y="937"/>
                  </a:cubicBezTo>
                  <a:cubicBezTo>
                    <a:pt x="251" y="781"/>
                    <a:pt x="251" y="781"/>
                    <a:pt x="251" y="781"/>
                  </a:cubicBezTo>
                  <a:cubicBezTo>
                    <a:pt x="155" y="716"/>
                    <a:pt x="91" y="605"/>
                    <a:pt x="91" y="479"/>
                  </a:cubicBezTo>
                  <a:cubicBezTo>
                    <a:pt x="91" y="450"/>
                    <a:pt x="91" y="450"/>
                    <a:pt x="91" y="450"/>
                  </a:cubicBezTo>
                  <a:cubicBezTo>
                    <a:pt x="91" y="252"/>
                    <a:pt x="249" y="90"/>
                    <a:pt x="443" y="90"/>
                  </a:cubicBezTo>
                  <a:cubicBezTo>
                    <a:pt x="854" y="90"/>
                    <a:pt x="854" y="90"/>
                    <a:pt x="854" y="90"/>
                  </a:cubicBezTo>
                  <a:cubicBezTo>
                    <a:pt x="1047" y="90"/>
                    <a:pt x="1206" y="252"/>
                    <a:pt x="1206" y="450"/>
                  </a:cubicBezTo>
                  <a:lnTo>
                    <a:pt x="1206" y="479"/>
                  </a:lnTo>
                  <a:close/>
                  <a:moveTo>
                    <a:pt x="854" y="0"/>
                  </a:moveTo>
                  <a:cubicBezTo>
                    <a:pt x="443" y="0"/>
                    <a:pt x="443" y="0"/>
                    <a:pt x="443" y="0"/>
                  </a:cubicBezTo>
                  <a:cubicBezTo>
                    <a:pt x="199" y="0"/>
                    <a:pt x="0" y="203"/>
                    <a:pt x="0" y="450"/>
                  </a:cubicBezTo>
                  <a:cubicBezTo>
                    <a:pt x="0" y="479"/>
                    <a:pt x="0" y="479"/>
                    <a:pt x="0" y="479"/>
                  </a:cubicBezTo>
                  <a:cubicBezTo>
                    <a:pt x="0" y="607"/>
                    <a:pt x="53" y="725"/>
                    <a:pt x="142" y="810"/>
                  </a:cubicBezTo>
                  <a:cubicBezTo>
                    <a:pt x="23" y="1107"/>
                    <a:pt x="23" y="1107"/>
                    <a:pt x="23" y="1107"/>
                  </a:cubicBezTo>
                  <a:cubicBezTo>
                    <a:pt x="435" y="930"/>
                    <a:pt x="435" y="930"/>
                    <a:pt x="435" y="930"/>
                  </a:cubicBezTo>
                  <a:cubicBezTo>
                    <a:pt x="438" y="930"/>
                    <a:pt x="440" y="930"/>
                    <a:pt x="443" y="930"/>
                  </a:cubicBezTo>
                  <a:cubicBezTo>
                    <a:pt x="854" y="930"/>
                    <a:pt x="854" y="930"/>
                    <a:pt x="854" y="930"/>
                  </a:cubicBezTo>
                  <a:cubicBezTo>
                    <a:pt x="1098" y="930"/>
                    <a:pt x="1297" y="727"/>
                    <a:pt x="1297" y="479"/>
                  </a:cubicBezTo>
                  <a:cubicBezTo>
                    <a:pt x="1297" y="450"/>
                    <a:pt x="1297" y="450"/>
                    <a:pt x="1297" y="450"/>
                  </a:cubicBezTo>
                  <a:cubicBezTo>
                    <a:pt x="1297" y="203"/>
                    <a:pt x="1098" y="0"/>
                    <a:pt x="85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</p:grpSp>
      <p:sp>
        <p:nvSpPr>
          <p:cNvPr id="35" name="Freeform 14">
            <a:extLst>
              <a:ext uri="{FF2B5EF4-FFF2-40B4-BE49-F238E27FC236}">
                <a16:creationId xmlns:a16="http://schemas.microsoft.com/office/drawing/2014/main" id="{D27481FD-214F-4DB1-B1EF-12D290AFAF44}"/>
              </a:ext>
            </a:extLst>
          </p:cNvPr>
          <p:cNvSpPr>
            <a:spLocks noEditPoints="1"/>
          </p:cNvSpPr>
          <p:nvPr/>
        </p:nvSpPr>
        <p:spPr bwMode="auto">
          <a:xfrm>
            <a:off x="4634979" y="4323681"/>
            <a:ext cx="418583" cy="371162"/>
          </a:xfrm>
          <a:custGeom>
            <a:avLst/>
            <a:gdLst>
              <a:gd name="T0" fmla="*/ 177 w 1154"/>
              <a:gd name="T1" fmla="*/ 506 h 1021"/>
              <a:gd name="T2" fmla="*/ 364 w 1154"/>
              <a:gd name="T3" fmla="*/ 694 h 1021"/>
              <a:gd name="T4" fmla="*/ 886 w 1154"/>
              <a:gd name="T5" fmla="*/ 171 h 1021"/>
              <a:gd name="T6" fmla="*/ 951 w 1154"/>
              <a:gd name="T7" fmla="*/ 235 h 1021"/>
              <a:gd name="T8" fmla="*/ 364 w 1154"/>
              <a:gd name="T9" fmla="*/ 822 h 1021"/>
              <a:gd name="T10" fmla="*/ 112 w 1154"/>
              <a:gd name="T11" fmla="*/ 570 h 1021"/>
              <a:gd name="T12" fmla="*/ 177 w 1154"/>
              <a:gd name="T13" fmla="*/ 506 h 1021"/>
              <a:gd name="T14" fmla="*/ 1031 w 1154"/>
              <a:gd name="T15" fmla="*/ 923 h 1021"/>
              <a:gd name="T16" fmla="*/ 942 w 1154"/>
              <a:gd name="T17" fmla="*/ 850 h 1021"/>
              <a:gd name="T18" fmla="*/ 1021 w 1154"/>
              <a:gd name="T19" fmla="*/ 750 h 1021"/>
              <a:gd name="T20" fmla="*/ 1141 w 1154"/>
              <a:gd name="T21" fmla="*/ 835 h 1021"/>
              <a:gd name="T22" fmla="*/ 968 w 1154"/>
              <a:gd name="T23" fmla="*/ 1020 h 1021"/>
              <a:gd name="T24" fmla="*/ 964 w 1154"/>
              <a:gd name="T25" fmla="*/ 1018 h 1021"/>
              <a:gd name="T26" fmla="*/ 959 w 1154"/>
              <a:gd name="T27" fmla="*/ 988 h 1021"/>
              <a:gd name="T28" fmla="*/ 962 w 1154"/>
              <a:gd name="T29" fmla="*/ 984 h 1021"/>
              <a:gd name="T30" fmla="*/ 1031 w 1154"/>
              <a:gd name="T31" fmla="*/ 923 h 1021"/>
              <a:gd name="T32" fmla="*/ 781 w 1154"/>
              <a:gd name="T33" fmla="*/ 923 h 1021"/>
              <a:gd name="T34" fmla="*/ 692 w 1154"/>
              <a:gd name="T35" fmla="*/ 850 h 1021"/>
              <a:gd name="T36" fmla="*/ 770 w 1154"/>
              <a:gd name="T37" fmla="*/ 750 h 1021"/>
              <a:gd name="T38" fmla="*/ 891 w 1154"/>
              <a:gd name="T39" fmla="*/ 835 h 1021"/>
              <a:gd name="T40" fmla="*/ 718 w 1154"/>
              <a:gd name="T41" fmla="*/ 1020 h 1021"/>
              <a:gd name="T42" fmla="*/ 713 w 1154"/>
              <a:gd name="T43" fmla="*/ 1018 h 1021"/>
              <a:gd name="T44" fmla="*/ 709 w 1154"/>
              <a:gd name="T45" fmla="*/ 988 h 1021"/>
              <a:gd name="T46" fmla="*/ 711 w 1154"/>
              <a:gd name="T47" fmla="*/ 984 h 1021"/>
              <a:gd name="T48" fmla="*/ 781 w 1154"/>
              <a:gd name="T49" fmla="*/ 923 h 1021"/>
              <a:gd name="T50" fmla="*/ 373 w 1154"/>
              <a:gd name="T51" fmla="*/ 97 h 1021"/>
              <a:gd name="T52" fmla="*/ 462 w 1154"/>
              <a:gd name="T53" fmla="*/ 171 h 1021"/>
              <a:gd name="T54" fmla="*/ 383 w 1154"/>
              <a:gd name="T55" fmla="*/ 270 h 1021"/>
              <a:gd name="T56" fmla="*/ 263 w 1154"/>
              <a:gd name="T57" fmla="*/ 186 h 1021"/>
              <a:gd name="T58" fmla="*/ 436 w 1154"/>
              <a:gd name="T59" fmla="*/ 0 h 1021"/>
              <a:gd name="T60" fmla="*/ 441 w 1154"/>
              <a:gd name="T61" fmla="*/ 2 h 1021"/>
              <a:gd name="T62" fmla="*/ 445 w 1154"/>
              <a:gd name="T63" fmla="*/ 32 h 1021"/>
              <a:gd name="T64" fmla="*/ 443 w 1154"/>
              <a:gd name="T65" fmla="*/ 36 h 1021"/>
              <a:gd name="T66" fmla="*/ 373 w 1154"/>
              <a:gd name="T67" fmla="*/ 97 h 1021"/>
              <a:gd name="T68" fmla="*/ 123 w 1154"/>
              <a:gd name="T69" fmla="*/ 97 h 1021"/>
              <a:gd name="T70" fmla="*/ 212 w 1154"/>
              <a:gd name="T71" fmla="*/ 171 h 1021"/>
              <a:gd name="T72" fmla="*/ 133 w 1154"/>
              <a:gd name="T73" fmla="*/ 270 h 1021"/>
              <a:gd name="T74" fmla="*/ 13 w 1154"/>
              <a:gd name="T75" fmla="*/ 186 h 1021"/>
              <a:gd name="T76" fmla="*/ 186 w 1154"/>
              <a:gd name="T77" fmla="*/ 0 h 1021"/>
              <a:gd name="T78" fmla="*/ 190 w 1154"/>
              <a:gd name="T79" fmla="*/ 2 h 1021"/>
              <a:gd name="T80" fmla="*/ 195 w 1154"/>
              <a:gd name="T81" fmla="*/ 32 h 1021"/>
              <a:gd name="T82" fmla="*/ 192 w 1154"/>
              <a:gd name="T83" fmla="*/ 36 h 1021"/>
              <a:gd name="T84" fmla="*/ 123 w 1154"/>
              <a:gd name="T85" fmla="*/ 97 h 10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54" h="1021">
                <a:moveTo>
                  <a:pt x="177" y="506"/>
                </a:moveTo>
                <a:cubicBezTo>
                  <a:pt x="364" y="694"/>
                  <a:pt x="364" y="694"/>
                  <a:pt x="364" y="694"/>
                </a:cubicBezTo>
                <a:cubicBezTo>
                  <a:pt x="886" y="171"/>
                  <a:pt x="886" y="171"/>
                  <a:pt x="886" y="171"/>
                </a:cubicBezTo>
                <a:cubicBezTo>
                  <a:pt x="951" y="235"/>
                  <a:pt x="951" y="235"/>
                  <a:pt x="951" y="235"/>
                </a:cubicBezTo>
                <a:cubicBezTo>
                  <a:pt x="364" y="822"/>
                  <a:pt x="364" y="822"/>
                  <a:pt x="364" y="822"/>
                </a:cubicBezTo>
                <a:cubicBezTo>
                  <a:pt x="112" y="570"/>
                  <a:pt x="112" y="570"/>
                  <a:pt x="112" y="570"/>
                </a:cubicBezTo>
                <a:lnTo>
                  <a:pt x="177" y="506"/>
                </a:lnTo>
                <a:close/>
                <a:moveTo>
                  <a:pt x="1031" y="923"/>
                </a:moveTo>
                <a:cubicBezTo>
                  <a:pt x="987" y="922"/>
                  <a:pt x="949" y="892"/>
                  <a:pt x="942" y="850"/>
                </a:cubicBezTo>
                <a:cubicBezTo>
                  <a:pt x="934" y="802"/>
                  <a:pt x="969" y="758"/>
                  <a:pt x="1021" y="750"/>
                </a:cubicBezTo>
                <a:cubicBezTo>
                  <a:pt x="1072" y="743"/>
                  <a:pt x="1128" y="769"/>
                  <a:pt x="1141" y="835"/>
                </a:cubicBezTo>
                <a:cubicBezTo>
                  <a:pt x="1154" y="930"/>
                  <a:pt x="1080" y="1008"/>
                  <a:pt x="968" y="1020"/>
                </a:cubicBezTo>
                <a:cubicBezTo>
                  <a:pt x="964" y="1021"/>
                  <a:pt x="964" y="1018"/>
                  <a:pt x="964" y="1018"/>
                </a:cubicBezTo>
                <a:cubicBezTo>
                  <a:pt x="959" y="988"/>
                  <a:pt x="959" y="988"/>
                  <a:pt x="959" y="988"/>
                </a:cubicBezTo>
                <a:cubicBezTo>
                  <a:pt x="959" y="988"/>
                  <a:pt x="958" y="985"/>
                  <a:pt x="962" y="984"/>
                </a:cubicBezTo>
                <a:cubicBezTo>
                  <a:pt x="993" y="976"/>
                  <a:pt x="1021" y="961"/>
                  <a:pt x="1031" y="923"/>
                </a:cubicBezTo>
                <a:close/>
                <a:moveTo>
                  <a:pt x="781" y="923"/>
                </a:moveTo>
                <a:cubicBezTo>
                  <a:pt x="737" y="922"/>
                  <a:pt x="699" y="892"/>
                  <a:pt x="692" y="850"/>
                </a:cubicBezTo>
                <a:cubicBezTo>
                  <a:pt x="684" y="802"/>
                  <a:pt x="719" y="758"/>
                  <a:pt x="770" y="750"/>
                </a:cubicBezTo>
                <a:cubicBezTo>
                  <a:pt x="821" y="743"/>
                  <a:pt x="878" y="769"/>
                  <a:pt x="891" y="835"/>
                </a:cubicBezTo>
                <a:cubicBezTo>
                  <a:pt x="904" y="930"/>
                  <a:pt x="830" y="1008"/>
                  <a:pt x="718" y="1020"/>
                </a:cubicBezTo>
                <a:cubicBezTo>
                  <a:pt x="714" y="1021"/>
                  <a:pt x="713" y="1018"/>
                  <a:pt x="713" y="1018"/>
                </a:cubicBezTo>
                <a:cubicBezTo>
                  <a:pt x="709" y="988"/>
                  <a:pt x="709" y="988"/>
                  <a:pt x="709" y="988"/>
                </a:cubicBezTo>
                <a:cubicBezTo>
                  <a:pt x="709" y="988"/>
                  <a:pt x="708" y="985"/>
                  <a:pt x="711" y="984"/>
                </a:cubicBezTo>
                <a:cubicBezTo>
                  <a:pt x="743" y="976"/>
                  <a:pt x="770" y="961"/>
                  <a:pt x="781" y="923"/>
                </a:cubicBezTo>
                <a:close/>
                <a:moveTo>
                  <a:pt x="373" y="97"/>
                </a:moveTo>
                <a:cubicBezTo>
                  <a:pt x="417" y="99"/>
                  <a:pt x="455" y="128"/>
                  <a:pt x="462" y="171"/>
                </a:cubicBezTo>
                <a:cubicBezTo>
                  <a:pt x="470" y="218"/>
                  <a:pt x="435" y="263"/>
                  <a:pt x="383" y="270"/>
                </a:cubicBezTo>
                <a:cubicBezTo>
                  <a:pt x="333" y="277"/>
                  <a:pt x="276" y="251"/>
                  <a:pt x="263" y="186"/>
                </a:cubicBezTo>
                <a:cubicBezTo>
                  <a:pt x="250" y="90"/>
                  <a:pt x="324" y="12"/>
                  <a:pt x="436" y="0"/>
                </a:cubicBezTo>
                <a:cubicBezTo>
                  <a:pt x="440" y="0"/>
                  <a:pt x="441" y="2"/>
                  <a:pt x="441" y="2"/>
                </a:cubicBezTo>
                <a:cubicBezTo>
                  <a:pt x="445" y="32"/>
                  <a:pt x="445" y="32"/>
                  <a:pt x="445" y="32"/>
                </a:cubicBezTo>
                <a:cubicBezTo>
                  <a:pt x="445" y="32"/>
                  <a:pt x="446" y="35"/>
                  <a:pt x="443" y="36"/>
                </a:cubicBezTo>
                <a:cubicBezTo>
                  <a:pt x="411" y="45"/>
                  <a:pt x="383" y="60"/>
                  <a:pt x="373" y="97"/>
                </a:cubicBezTo>
                <a:close/>
                <a:moveTo>
                  <a:pt x="123" y="97"/>
                </a:moveTo>
                <a:cubicBezTo>
                  <a:pt x="167" y="99"/>
                  <a:pt x="205" y="128"/>
                  <a:pt x="212" y="171"/>
                </a:cubicBezTo>
                <a:cubicBezTo>
                  <a:pt x="220" y="218"/>
                  <a:pt x="185" y="263"/>
                  <a:pt x="133" y="270"/>
                </a:cubicBezTo>
                <a:cubicBezTo>
                  <a:pt x="82" y="277"/>
                  <a:pt x="26" y="251"/>
                  <a:pt x="13" y="186"/>
                </a:cubicBezTo>
                <a:cubicBezTo>
                  <a:pt x="0" y="90"/>
                  <a:pt x="74" y="12"/>
                  <a:pt x="186" y="0"/>
                </a:cubicBezTo>
                <a:cubicBezTo>
                  <a:pt x="190" y="0"/>
                  <a:pt x="190" y="2"/>
                  <a:pt x="190" y="2"/>
                </a:cubicBezTo>
                <a:cubicBezTo>
                  <a:pt x="195" y="32"/>
                  <a:pt x="195" y="32"/>
                  <a:pt x="195" y="32"/>
                </a:cubicBezTo>
                <a:cubicBezTo>
                  <a:pt x="195" y="32"/>
                  <a:pt x="196" y="35"/>
                  <a:pt x="192" y="36"/>
                </a:cubicBezTo>
                <a:cubicBezTo>
                  <a:pt x="161" y="45"/>
                  <a:pt x="133" y="60"/>
                  <a:pt x="123" y="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defTabSz="914214">
              <a:defRPr/>
            </a:pPr>
            <a:endParaRPr lang="en-US" sz="1730">
              <a:solidFill>
                <a:srgbClr val="3F3F3F"/>
              </a:solidFill>
              <a:latin typeface="Segoe UI"/>
            </a:endParaRPr>
          </a:p>
        </p:txBody>
      </p:sp>
      <p:sp>
        <p:nvSpPr>
          <p:cNvPr id="36" name="Freeform 10">
            <a:extLst>
              <a:ext uri="{FF2B5EF4-FFF2-40B4-BE49-F238E27FC236}">
                <a16:creationId xmlns:a16="http://schemas.microsoft.com/office/drawing/2014/main" id="{F75193B7-9B2A-47C6-8C0A-EA0D95FE0158}"/>
              </a:ext>
            </a:extLst>
          </p:cNvPr>
          <p:cNvSpPr>
            <a:spLocks noEditPoints="1"/>
          </p:cNvSpPr>
          <p:nvPr/>
        </p:nvSpPr>
        <p:spPr bwMode="auto">
          <a:xfrm>
            <a:off x="10094540" y="4304004"/>
            <a:ext cx="534256" cy="446029"/>
          </a:xfrm>
          <a:custGeom>
            <a:avLst/>
            <a:gdLst>
              <a:gd name="T0" fmla="*/ 663 w 2840"/>
              <a:gd name="T1" fmla="*/ 238 h 2371"/>
              <a:gd name="T2" fmla="*/ 852 w 2840"/>
              <a:gd name="T3" fmla="*/ 238 h 2371"/>
              <a:gd name="T4" fmla="*/ 852 w 2840"/>
              <a:gd name="T5" fmla="*/ 2134 h 2371"/>
              <a:gd name="T6" fmla="*/ 663 w 2840"/>
              <a:gd name="T7" fmla="*/ 2134 h 2371"/>
              <a:gd name="T8" fmla="*/ 663 w 2840"/>
              <a:gd name="T9" fmla="*/ 238 h 2371"/>
              <a:gd name="T10" fmla="*/ 1988 w 2840"/>
              <a:gd name="T11" fmla="*/ 0 h 2371"/>
              <a:gd name="T12" fmla="*/ 2177 w 2840"/>
              <a:gd name="T13" fmla="*/ 0 h 2371"/>
              <a:gd name="T14" fmla="*/ 2177 w 2840"/>
              <a:gd name="T15" fmla="*/ 2371 h 2371"/>
              <a:gd name="T16" fmla="*/ 1988 w 2840"/>
              <a:gd name="T17" fmla="*/ 2371 h 2371"/>
              <a:gd name="T18" fmla="*/ 1988 w 2840"/>
              <a:gd name="T19" fmla="*/ 0 h 2371"/>
              <a:gd name="T20" fmla="*/ 994 w 2840"/>
              <a:gd name="T21" fmla="*/ 521 h 2371"/>
              <a:gd name="T22" fmla="*/ 1183 w 2840"/>
              <a:gd name="T23" fmla="*/ 521 h 2371"/>
              <a:gd name="T24" fmla="*/ 1183 w 2840"/>
              <a:gd name="T25" fmla="*/ 1850 h 2371"/>
              <a:gd name="T26" fmla="*/ 994 w 2840"/>
              <a:gd name="T27" fmla="*/ 1850 h 2371"/>
              <a:gd name="T28" fmla="*/ 994 w 2840"/>
              <a:gd name="T29" fmla="*/ 521 h 2371"/>
              <a:gd name="T30" fmla="*/ 1657 w 2840"/>
              <a:gd name="T31" fmla="*/ 331 h 2371"/>
              <a:gd name="T32" fmla="*/ 1846 w 2840"/>
              <a:gd name="T33" fmla="*/ 331 h 2371"/>
              <a:gd name="T34" fmla="*/ 1846 w 2840"/>
              <a:gd name="T35" fmla="*/ 2040 h 2371"/>
              <a:gd name="T36" fmla="*/ 1657 w 2840"/>
              <a:gd name="T37" fmla="*/ 2040 h 2371"/>
              <a:gd name="T38" fmla="*/ 1657 w 2840"/>
              <a:gd name="T39" fmla="*/ 331 h 2371"/>
              <a:gd name="T40" fmla="*/ 2318 w 2840"/>
              <a:gd name="T41" fmla="*/ 521 h 2371"/>
              <a:gd name="T42" fmla="*/ 2507 w 2840"/>
              <a:gd name="T43" fmla="*/ 521 h 2371"/>
              <a:gd name="T44" fmla="*/ 2507 w 2840"/>
              <a:gd name="T45" fmla="*/ 1850 h 2371"/>
              <a:gd name="T46" fmla="*/ 2318 w 2840"/>
              <a:gd name="T47" fmla="*/ 1850 h 2371"/>
              <a:gd name="T48" fmla="*/ 2318 w 2840"/>
              <a:gd name="T49" fmla="*/ 521 h 2371"/>
              <a:gd name="T50" fmla="*/ 333 w 2840"/>
              <a:gd name="T51" fmla="*/ 711 h 2371"/>
              <a:gd name="T52" fmla="*/ 522 w 2840"/>
              <a:gd name="T53" fmla="*/ 711 h 2371"/>
              <a:gd name="T54" fmla="*/ 522 w 2840"/>
              <a:gd name="T55" fmla="*/ 1661 h 2371"/>
              <a:gd name="T56" fmla="*/ 333 w 2840"/>
              <a:gd name="T57" fmla="*/ 1661 h 2371"/>
              <a:gd name="T58" fmla="*/ 333 w 2840"/>
              <a:gd name="T59" fmla="*/ 711 h 2371"/>
              <a:gd name="T60" fmla="*/ 1324 w 2840"/>
              <a:gd name="T61" fmla="*/ 854 h 2371"/>
              <a:gd name="T62" fmla="*/ 1516 w 2840"/>
              <a:gd name="T63" fmla="*/ 854 h 2371"/>
              <a:gd name="T64" fmla="*/ 1516 w 2840"/>
              <a:gd name="T65" fmla="*/ 1517 h 2371"/>
              <a:gd name="T66" fmla="*/ 1324 w 2840"/>
              <a:gd name="T67" fmla="*/ 1517 h 2371"/>
              <a:gd name="T68" fmla="*/ 1324 w 2840"/>
              <a:gd name="T69" fmla="*/ 854 h 2371"/>
              <a:gd name="T70" fmla="*/ 2651 w 2840"/>
              <a:gd name="T71" fmla="*/ 900 h 2371"/>
              <a:gd name="T72" fmla="*/ 2840 w 2840"/>
              <a:gd name="T73" fmla="*/ 900 h 2371"/>
              <a:gd name="T74" fmla="*/ 2840 w 2840"/>
              <a:gd name="T75" fmla="*/ 1471 h 2371"/>
              <a:gd name="T76" fmla="*/ 2651 w 2840"/>
              <a:gd name="T77" fmla="*/ 1471 h 2371"/>
              <a:gd name="T78" fmla="*/ 2651 w 2840"/>
              <a:gd name="T79" fmla="*/ 900 h 2371"/>
              <a:gd name="T80" fmla="*/ 0 w 2840"/>
              <a:gd name="T81" fmla="*/ 1090 h 2371"/>
              <a:gd name="T82" fmla="*/ 189 w 2840"/>
              <a:gd name="T83" fmla="*/ 1090 h 2371"/>
              <a:gd name="T84" fmla="*/ 189 w 2840"/>
              <a:gd name="T85" fmla="*/ 1281 h 2371"/>
              <a:gd name="T86" fmla="*/ 0 w 2840"/>
              <a:gd name="T87" fmla="*/ 1281 h 2371"/>
              <a:gd name="T88" fmla="*/ 0 w 2840"/>
              <a:gd name="T89" fmla="*/ 1090 h 2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840" h="2371">
                <a:moveTo>
                  <a:pt x="663" y="238"/>
                </a:moveTo>
                <a:lnTo>
                  <a:pt x="852" y="238"/>
                </a:lnTo>
                <a:lnTo>
                  <a:pt x="852" y="2134"/>
                </a:lnTo>
                <a:lnTo>
                  <a:pt x="663" y="2134"/>
                </a:lnTo>
                <a:lnTo>
                  <a:pt x="663" y="238"/>
                </a:lnTo>
                <a:close/>
                <a:moveTo>
                  <a:pt x="1988" y="0"/>
                </a:moveTo>
                <a:lnTo>
                  <a:pt x="2177" y="0"/>
                </a:lnTo>
                <a:lnTo>
                  <a:pt x="2177" y="2371"/>
                </a:lnTo>
                <a:lnTo>
                  <a:pt x="1988" y="2371"/>
                </a:lnTo>
                <a:lnTo>
                  <a:pt x="1988" y="0"/>
                </a:lnTo>
                <a:close/>
                <a:moveTo>
                  <a:pt x="994" y="521"/>
                </a:moveTo>
                <a:lnTo>
                  <a:pt x="1183" y="521"/>
                </a:lnTo>
                <a:lnTo>
                  <a:pt x="1183" y="1850"/>
                </a:lnTo>
                <a:lnTo>
                  <a:pt x="994" y="1850"/>
                </a:lnTo>
                <a:lnTo>
                  <a:pt x="994" y="521"/>
                </a:lnTo>
                <a:close/>
                <a:moveTo>
                  <a:pt x="1657" y="331"/>
                </a:moveTo>
                <a:lnTo>
                  <a:pt x="1846" y="331"/>
                </a:lnTo>
                <a:lnTo>
                  <a:pt x="1846" y="2040"/>
                </a:lnTo>
                <a:lnTo>
                  <a:pt x="1657" y="2040"/>
                </a:lnTo>
                <a:lnTo>
                  <a:pt x="1657" y="331"/>
                </a:lnTo>
                <a:close/>
                <a:moveTo>
                  <a:pt x="2318" y="521"/>
                </a:moveTo>
                <a:lnTo>
                  <a:pt x="2507" y="521"/>
                </a:lnTo>
                <a:lnTo>
                  <a:pt x="2507" y="1850"/>
                </a:lnTo>
                <a:lnTo>
                  <a:pt x="2318" y="1850"/>
                </a:lnTo>
                <a:lnTo>
                  <a:pt x="2318" y="521"/>
                </a:lnTo>
                <a:close/>
                <a:moveTo>
                  <a:pt x="333" y="711"/>
                </a:moveTo>
                <a:lnTo>
                  <a:pt x="522" y="711"/>
                </a:lnTo>
                <a:lnTo>
                  <a:pt x="522" y="1661"/>
                </a:lnTo>
                <a:lnTo>
                  <a:pt x="333" y="1661"/>
                </a:lnTo>
                <a:lnTo>
                  <a:pt x="333" y="711"/>
                </a:lnTo>
                <a:close/>
                <a:moveTo>
                  <a:pt x="1324" y="854"/>
                </a:moveTo>
                <a:lnTo>
                  <a:pt x="1516" y="854"/>
                </a:lnTo>
                <a:lnTo>
                  <a:pt x="1516" y="1517"/>
                </a:lnTo>
                <a:lnTo>
                  <a:pt x="1324" y="1517"/>
                </a:lnTo>
                <a:lnTo>
                  <a:pt x="1324" y="854"/>
                </a:lnTo>
                <a:close/>
                <a:moveTo>
                  <a:pt x="2651" y="900"/>
                </a:moveTo>
                <a:lnTo>
                  <a:pt x="2840" y="900"/>
                </a:lnTo>
                <a:lnTo>
                  <a:pt x="2840" y="1471"/>
                </a:lnTo>
                <a:lnTo>
                  <a:pt x="2651" y="1471"/>
                </a:lnTo>
                <a:lnTo>
                  <a:pt x="2651" y="900"/>
                </a:lnTo>
                <a:close/>
                <a:moveTo>
                  <a:pt x="0" y="1090"/>
                </a:moveTo>
                <a:lnTo>
                  <a:pt x="189" y="1090"/>
                </a:lnTo>
                <a:lnTo>
                  <a:pt x="189" y="1281"/>
                </a:lnTo>
                <a:lnTo>
                  <a:pt x="0" y="1281"/>
                </a:lnTo>
                <a:lnTo>
                  <a:pt x="0" y="109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defTabSz="914214">
              <a:defRPr/>
            </a:pPr>
            <a:endParaRPr lang="en-US" sz="1730">
              <a:solidFill>
                <a:srgbClr val="3F3F3F"/>
              </a:solidFill>
              <a:latin typeface="Segoe UI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E6F45EE-F290-4DBB-A2C7-C54E62AF8B53}"/>
              </a:ext>
            </a:extLst>
          </p:cNvPr>
          <p:cNvSpPr txBox="1"/>
          <p:nvPr/>
        </p:nvSpPr>
        <p:spPr>
          <a:xfrm>
            <a:off x="8609493" y="2485330"/>
            <a:ext cx="1276612" cy="338552"/>
          </a:xfrm>
          <a:prstGeom prst="rect">
            <a:avLst/>
          </a:prstGeom>
          <a:noFill/>
        </p:spPr>
        <p:txBody>
          <a:bodyPr wrap="square" lIns="91438" tIns="45719" rIns="91438" bIns="45719" rtlCol="0" anchor="ctr">
            <a:spAutoFit/>
          </a:bodyPr>
          <a:lstStyle>
            <a:defPPr>
              <a:defRPr lang="en-US"/>
            </a:defPPr>
            <a:lvl1pPr algn="ctr" defTabSz="913841">
              <a:defRPr sz="1600" b="1">
                <a:cs typeface="Segoe UI Semibold" panose="020B0702040204020203" pitchFamily="34" charset="0"/>
              </a:defRPr>
            </a:lvl1pPr>
          </a:lstStyle>
          <a:p>
            <a:pPr defTabSz="913829">
              <a:defRPr/>
            </a:pPr>
            <a:r>
              <a:rPr lang="en-US" b="0" err="1">
                <a:solidFill>
                  <a:srgbClr val="E3008C"/>
                </a:solidFill>
                <a:latin typeface="Segoe UI Semibold"/>
              </a:rPr>
              <a:t>QnA</a:t>
            </a:r>
            <a:r>
              <a:rPr lang="en-US" b="0">
                <a:solidFill>
                  <a:srgbClr val="E3008C"/>
                </a:solidFill>
                <a:latin typeface="Segoe UI Semibold"/>
              </a:rPr>
              <a:t> Mak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7791F1D-2493-4987-8E8E-96AE18D3AD4B}"/>
              </a:ext>
            </a:extLst>
          </p:cNvPr>
          <p:cNvSpPr/>
          <p:nvPr/>
        </p:nvSpPr>
        <p:spPr>
          <a:xfrm>
            <a:off x="7633977" y="2885325"/>
            <a:ext cx="34200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52">
              <a:defRPr/>
            </a:pPr>
            <a: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till information into conversational, easy-to-navigate answers</a:t>
            </a:r>
          </a:p>
        </p:txBody>
      </p:sp>
      <p:sp>
        <p:nvSpPr>
          <p:cNvPr id="23" name="Freeform 23">
            <a:extLst>
              <a:ext uri="{FF2B5EF4-FFF2-40B4-BE49-F238E27FC236}">
                <a16:creationId xmlns:a16="http://schemas.microsoft.com/office/drawing/2014/main" id="{42CB1481-98B9-4FA2-86A4-A44B9E6377E0}"/>
              </a:ext>
            </a:extLst>
          </p:cNvPr>
          <p:cNvSpPr>
            <a:spLocks noEditPoints="1"/>
          </p:cNvSpPr>
          <p:nvPr/>
        </p:nvSpPr>
        <p:spPr bwMode="auto">
          <a:xfrm>
            <a:off x="8996764" y="1652133"/>
            <a:ext cx="501868" cy="461275"/>
          </a:xfrm>
          <a:custGeom>
            <a:avLst/>
            <a:gdLst>
              <a:gd name="T0" fmla="*/ 1142 w 1308"/>
              <a:gd name="T1" fmla="*/ 686 h 1200"/>
              <a:gd name="T2" fmla="*/ 982 w 1308"/>
              <a:gd name="T3" fmla="*/ 616 h 1200"/>
              <a:gd name="T4" fmla="*/ 965 w 1308"/>
              <a:gd name="T5" fmla="*/ 617 h 1200"/>
              <a:gd name="T6" fmla="*/ 958 w 1308"/>
              <a:gd name="T7" fmla="*/ 617 h 1200"/>
              <a:gd name="T8" fmla="*/ 629 w 1308"/>
              <a:gd name="T9" fmla="*/ 343 h 1200"/>
              <a:gd name="T10" fmla="*/ 434 w 1308"/>
              <a:gd name="T11" fmla="*/ 343 h 1200"/>
              <a:gd name="T12" fmla="*/ 679 w 1308"/>
              <a:gd name="T13" fmla="*/ 91 h 1200"/>
              <a:gd name="T14" fmla="*/ 965 w 1308"/>
              <a:gd name="T15" fmla="*/ 91 h 1200"/>
              <a:gd name="T16" fmla="*/ 1210 w 1308"/>
              <a:gd name="T17" fmla="*/ 344 h 1200"/>
              <a:gd name="T18" fmla="*/ 1210 w 1308"/>
              <a:gd name="T19" fmla="*/ 364 h 1200"/>
              <a:gd name="T20" fmla="*/ 1098 w 1308"/>
              <a:gd name="T21" fmla="*/ 576 h 1200"/>
              <a:gd name="T22" fmla="*/ 1142 w 1308"/>
              <a:gd name="T23" fmla="*/ 686 h 1200"/>
              <a:gd name="T24" fmla="*/ 629 w 1308"/>
              <a:gd name="T25" fmla="*/ 960 h 1200"/>
              <a:gd name="T26" fmla="*/ 343 w 1308"/>
              <a:gd name="T27" fmla="*/ 960 h 1200"/>
              <a:gd name="T28" fmla="*/ 326 w 1308"/>
              <a:gd name="T29" fmla="*/ 959 h 1200"/>
              <a:gd name="T30" fmla="*/ 166 w 1308"/>
              <a:gd name="T31" fmla="*/ 1028 h 1200"/>
              <a:gd name="T32" fmla="*/ 210 w 1308"/>
              <a:gd name="T33" fmla="*/ 919 h 1200"/>
              <a:gd name="T34" fmla="*/ 98 w 1308"/>
              <a:gd name="T35" fmla="*/ 707 h 1200"/>
              <a:gd name="T36" fmla="*/ 98 w 1308"/>
              <a:gd name="T37" fmla="*/ 687 h 1200"/>
              <a:gd name="T38" fmla="*/ 343 w 1308"/>
              <a:gd name="T39" fmla="*/ 434 h 1200"/>
              <a:gd name="T40" fmla="*/ 350 w 1308"/>
              <a:gd name="T41" fmla="*/ 434 h 1200"/>
              <a:gd name="T42" fmla="*/ 444 w 1308"/>
              <a:gd name="T43" fmla="*/ 434 h 1200"/>
              <a:gd name="T44" fmla="*/ 629 w 1308"/>
              <a:gd name="T45" fmla="*/ 434 h 1200"/>
              <a:gd name="T46" fmla="*/ 864 w 1308"/>
              <a:gd name="T47" fmla="*/ 617 h 1200"/>
              <a:gd name="T48" fmla="*/ 874 w 1308"/>
              <a:gd name="T49" fmla="*/ 687 h 1200"/>
              <a:gd name="T50" fmla="*/ 874 w 1308"/>
              <a:gd name="T51" fmla="*/ 707 h 1200"/>
              <a:gd name="T52" fmla="*/ 874 w 1308"/>
              <a:gd name="T53" fmla="*/ 709 h 1200"/>
              <a:gd name="T54" fmla="*/ 629 w 1308"/>
              <a:gd name="T55" fmla="*/ 960 h 1200"/>
              <a:gd name="T56" fmla="*/ 1207 w 1308"/>
              <a:gd name="T57" fmla="*/ 603 h 1200"/>
              <a:gd name="T58" fmla="*/ 1301 w 1308"/>
              <a:gd name="T59" fmla="*/ 364 h 1200"/>
              <a:gd name="T60" fmla="*/ 1301 w 1308"/>
              <a:gd name="T61" fmla="*/ 344 h 1200"/>
              <a:gd name="T62" fmla="*/ 965 w 1308"/>
              <a:gd name="T63" fmla="*/ 0 h 1200"/>
              <a:gd name="T64" fmla="*/ 679 w 1308"/>
              <a:gd name="T65" fmla="*/ 0 h 1200"/>
              <a:gd name="T66" fmla="*/ 343 w 1308"/>
              <a:gd name="T67" fmla="*/ 343 h 1200"/>
              <a:gd name="T68" fmla="*/ 7 w 1308"/>
              <a:gd name="T69" fmla="*/ 687 h 1200"/>
              <a:gd name="T70" fmla="*/ 7 w 1308"/>
              <a:gd name="T71" fmla="*/ 707 h 1200"/>
              <a:gd name="T72" fmla="*/ 101 w 1308"/>
              <a:gd name="T73" fmla="*/ 946 h 1200"/>
              <a:gd name="T74" fmla="*/ 0 w 1308"/>
              <a:gd name="T75" fmla="*/ 1200 h 1200"/>
              <a:gd name="T76" fmla="*/ 343 w 1308"/>
              <a:gd name="T77" fmla="*/ 1051 h 1200"/>
              <a:gd name="T78" fmla="*/ 629 w 1308"/>
              <a:gd name="T79" fmla="*/ 1051 h 1200"/>
              <a:gd name="T80" fmla="*/ 965 w 1308"/>
              <a:gd name="T81" fmla="*/ 709 h 1200"/>
              <a:gd name="T82" fmla="*/ 1308 w 1308"/>
              <a:gd name="T83" fmla="*/ 857 h 1200"/>
              <a:gd name="T84" fmla="*/ 1207 w 1308"/>
              <a:gd name="T85" fmla="*/ 603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08" h="1200">
                <a:moveTo>
                  <a:pt x="1142" y="686"/>
                </a:moveTo>
                <a:cubicBezTo>
                  <a:pt x="982" y="616"/>
                  <a:pt x="982" y="616"/>
                  <a:pt x="982" y="616"/>
                </a:cubicBezTo>
                <a:cubicBezTo>
                  <a:pt x="976" y="617"/>
                  <a:pt x="971" y="617"/>
                  <a:pt x="965" y="617"/>
                </a:cubicBezTo>
                <a:cubicBezTo>
                  <a:pt x="958" y="617"/>
                  <a:pt x="958" y="617"/>
                  <a:pt x="958" y="617"/>
                </a:cubicBezTo>
                <a:cubicBezTo>
                  <a:pt x="927" y="461"/>
                  <a:pt x="791" y="343"/>
                  <a:pt x="629" y="343"/>
                </a:cubicBezTo>
                <a:cubicBezTo>
                  <a:pt x="434" y="343"/>
                  <a:pt x="434" y="343"/>
                  <a:pt x="434" y="343"/>
                </a:cubicBezTo>
                <a:cubicBezTo>
                  <a:pt x="435" y="204"/>
                  <a:pt x="545" y="91"/>
                  <a:pt x="679" y="91"/>
                </a:cubicBezTo>
                <a:cubicBezTo>
                  <a:pt x="965" y="91"/>
                  <a:pt x="965" y="91"/>
                  <a:pt x="965" y="91"/>
                </a:cubicBezTo>
                <a:cubicBezTo>
                  <a:pt x="1100" y="91"/>
                  <a:pt x="1210" y="205"/>
                  <a:pt x="1210" y="344"/>
                </a:cubicBezTo>
                <a:cubicBezTo>
                  <a:pt x="1210" y="364"/>
                  <a:pt x="1210" y="364"/>
                  <a:pt x="1210" y="364"/>
                </a:cubicBezTo>
                <a:cubicBezTo>
                  <a:pt x="1210" y="453"/>
                  <a:pt x="1165" y="531"/>
                  <a:pt x="1098" y="576"/>
                </a:cubicBezTo>
                <a:lnTo>
                  <a:pt x="1142" y="686"/>
                </a:lnTo>
                <a:close/>
                <a:moveTo>
                  <a:pt x="629" y="960"/>
                </a:moveTo>
                <a:cubicBezTo>
                  <a:pt x="343" y="960"/>
                  <a:pt x="343" y="960"/>
                  <a:pt x="343" y="960"/>
                </a:cubicBezTo>
                <a:cubicBezTo>
                  <a:pt x="337" y="960"/>
                  <a:pt x="332" y="960"/>
                  <a:pt x="326" y="959"/>
                </a:cubicBezTo>
                <a:cubicBezTo>
                  <a:pt x="166" y="1028"/>
                  <a:pt x="166" y="1028"/>
                  <a:pt x="166" y="1028"/>
                </a:cubicBezTo>
                <a:cubicBezTo>
                  <a:pt x="210" y="919"/>
                  <a:pt x="210" y="919"/>
                  <a:pt x="210" y="919"/>
                </a:cubicBezTo>
                <a:cubicBezTo>
                  <a:pt x="143" y="874"/>
                  <a:pt x="98" y="795"/>
                  <a:pt x="98" y="707"/>
                </a:cubicBezTo>
                <a:cubicBezTo>
                  <a:pt x="98" y="687"/>
                  <a:pt x="98" y="687"/>
                  <a:pt x="98" y="687"/>
                </a:cubicBezTo>
                <a:cubicBezTo>
                  <a:pt x="98" y="548"/>
                  <a:pt x="208" y="434"/>
                  <a:pt x="343" y="434"/>
                </a:cubicBezTo>
                <a:cubicBezTo>
                  <a:pt x="350" y="434"/>
                  <a:pt x="350" y="434"/>
                  <a:pt x="350" y="434"/>
                </a:cubicBezTo>
                <a:cubicBezTo>
                  <a:pt x="444" y="434"/>
                  <a:pt x="444" y="434"/>
                  <a:pt x="444" y="434"/>
                </a:cubicBezTo>
                <a:cubicBezTo>
                  <a:pt x="629" y="434"/>
                  <a:pt x="629" y="434"/>
                  <a:pt x="629" y="434"/>
                </a:cubicBezTo>
                <a:cubicBezTo>
                  <a:pt x="740" y="434"/>
                  <a:pt x="835" y="512"/>
                  <a:pt x="864" y="617"/>
                </a:cubicBezTo>
                <a:cubicBezTo>
                  <a:pt x="871" y="639"/>
                  <a:pt x="874" y="663"/>
                  <a:pt x="874" y="687"/>
                </a:cubicBezTo>
                <a:cubicBezTo>
                  <a:pt x="874" y="707"/>
                  <a:pt x="874" y="707"/>
                  <a:pt x="874" y="707"/>
                </a:cubicBezTo>
                <a:cubicBezTo>
                  <a:pt x="874" y="708"/>
                  <a:pt x="874" y="708"/>
                  <a:pt x="874" y="709"/>
                </a:cubicBezTo>
                <a:cubicBezTo>
                  <a:pt x="873" y="847"/>
                  <a:pt x="763" y="960"/>
                  <a:pt x="629" y="960"/>
                </a:cubicBezTo>
                <a:close/>
                <a:moveTo>
                  <a:pt x="1207" y="603"/>
                </a:moveTo>
                <a:cubicBezTo>
                  <a:pt x="1267" y="540"/>
                  <a:pt x="1301" y="455"/>
                  <a:pt x="1301" y="364"/>
                </a:cubicBezTo>
                <a:cubicBezTo>
                  <a:pt x="1301" y="344"/>
                  <a:pt x="1301" y="344"/>
                  <a:pt x="1301" y="344"/>
                </a:cubicBezTo>
                <a:cubicBezTo>
                  <a:pt x="1301" y="155"/>
                  <a:pt x="1151" y="0"/>
                  <a:pt x="965" y="0"/>
                </a:cubicBezTo>
                <a:cubicBezTo>
                  <a:pt x="679" y="0"/>
                  <a:pt x="679" y="0"/>
                  <a:pt x="679" y="0"/>
                </a:cubicBezTo>
                <a:cubicBezTo>
                  <a:pt x="494" y="0"/>
                  <a:pt x="343" y="155"/>
                  <a:pt x="343" y="343"/>
                </a:cubicBezTo>
                <a:cubicBezTo>
                  <a:pt x="157" y="343"/>
                  <a:pt x="7" y="498"/>
                  <a:pt x="7" y="687"/>
                </a:cubicBezTo>
                <a:cubicBezTo>
                  <a:pt x="7" y="707"/>
                  <a:pt x="7" y="707"/>
                  <a:pt x="7" y="707"/>
                </a:cubicBezTo>
                <a:cubicBezTo>
                  <a:pt x="7" y="798"/>
                  <a:pt x="41" y="882"/>
                  <a:pt x="101" y="946"/>
                </a:cubicBezTo>
                <a:cubicBezTo>
                  <a:pt x="0" y="1200"/>
                  <a:pt x="0" y="1200"/>
                  <a:pt x="0" y="1200"/>
                </a:cubicBezTo>
                <a:cubicBezTo>
                  <a:pt x="343" y="1051"/>
                  <a:pt x="343" y="1051"/>
                  <a:pt x="343" y="1051"/>
                </a:cubicBezTo>
                <a:cubicBezTo>
                  <a:pt x="629" y="1051"/>
                  <a:pt x="629" y="1051"/>
                  <a:pt x="629" y="1051"/>
                </a:cubicBezTo>
                <a:cubicBezTo>
                  <a:pt x="814" y="1051"/>
                  <a:pt x="965" y="897"/>
                  <a:pt x="965" y="709"/>
                </a:cubicBezTo>
                <a:cubicBezTo>
                  <a:pt x="1308" y="857"/>
                  <a:pt x="1308" y="857"/>
                  <a:pt x="1308" y="857"/>
                </a:cubicBezTo>
                <a:lnTo>
                  <a:pt x="1207" y="6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defTabSz="914214">
              <a:defRPr/>
            </a:pPr>
            <a:endParaRPr lang="en-US" sz="1730">
              <a:solidFill>
                <a:srgbClr val="3F3F3F"/>
              </a:solidFill>
              <a:latin typeface="Segoe UI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DC7D906-9048-4C5C-9CAC-BF0A9AC2AB83}"/>
              </a:ext>
            </a:extLst>
          </p:cNvPr>
          <p:cNvSpPr txBox="1"/>
          <p:nvPr/>
        </p:nvSpPr>
        <p:spPr>
          <a:xfrm>
            <a:off x="1824025" y="2362224"/>
            <a:ext cx="2803939" cy="584766"/>
          </a:xfrm>
          <a:prstGeom prst="rect">
            <a:avLst/>
          </a:prstGeom>
          <a:noFill/>
        </p:spPr>
        <p:txBody>
          <a:bodyPr wrap="square" lIns="91438" tIns="45719" rIns="91438" bIns="45719" rtlCol="0" anchor="ctr">
            <a:noAutofit/>
          </a:bodyPr>
          <a:lstStyle/>
          <a:p>
            <a:pPr algn="ctr" defTabSz="913829">
              <a:defRPr/>
            </a:pPr>
            <a:r>
              <a:rPr lang="en-US" sz="1600">
                <a:solidFill>
                  <a:srgbClr val="E3008C"/>
                </a:solidFill>
                <a:latin typeface="Segoe UI Semibold"/>
                <a:cs typeface="Segoe UI Semibold" panose="020B0702040204020203" pitchFamily="34" charset="0"/>
              </a:rPr>
              <a:t>Language Understanding </a:t>
            </a:r>
            <a:br>
              <a:rPr lang="en-US" sz="1600">
                <a:solidFill>
                  <a:srgbClr val="E3008C"/>
                </a:solidFill>
                <a:latin typeface="Segoe UI Semibold"/>
                <a:cs typeface="Segoe UI Semibold" panose="020B0702040204020203" pitchFamily="34" charset="0"/>
              </a:rPr>
            </a:br>
            <a:r>
              <a:rPr lang="en-US" sz="1600">
                <a:solidFill>
                  <a:srgbClr val="E3008C"/>
                </a:solidFill>
                <a:latin typeface="Segoe UI Semibold"/>
                <a:cs typeface="Segoe UI Semibold" panose="020B0702040204020203" pitchFamily="34" charset="0"/>
              </a:rPr>
              <a:t>Intelligent Servic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95DEECE-C924-4396-BD42-C062BED4F4C5}"/>
              </a:ext>
            </a:extLst>
          </p:cNvPr>
          <p:cNvSpPr/>
          <p:nvPr/>
        </p:nvSpPr>
        <p:spPr>
          <a:xfrm>
            <a:off x="1881761" y="2885325"/>
            <a:ext cx="268847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52">
              <a:defRPr/>
            </a:pPr>
            <a: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ach your apps to understand commands from your users</a:t>
            </a:r>
          </a:p>
        </p:txBody>
      </p:sp>
      <p:sp>
        <p:nvSpPr>
          <p:cNvPr id="46" name="Freeform 16">
            <a:extLst>
              <a:ext uri="{FF2B5EF4-FFF2-40B4-BE49-F238E27FC236}">
                <a16:creationId xmlns:a16="http://schemas.microsoft.com/office/drawing/2014/main" id="{1423E21E-3F78-4960-B5FE-398B17FD1194}"/>
              </a:ext>
            </a:extLst>
          </p:cNvPr>
          <p:cNvSpPr>
            <a:spLocks noEditPoints="1"/>
          </p:cNvSpPr>
          <p:nvPr/>
        </p:nvSpPr>
        <p:spPr bwMode="auto">
          <a:xfrm>
            <a:off x="2995988" y="1660249"/>
            <a:ext cx="453094" cy="396735"/>
          </a:xfrm>
          <a:custGeom>
            <a:avLst/>
            <a:gdLst>
              <a:gd name="T0" fmla="*/ 1150 w 1167"/>
              <a:gd name="T1" fmla="*/ 473 h 1020"/>
              <a:gd name="T2" fmla="*/ 1167 w 1167"/>
              <a:gd name="T3" fmla="*/ 475 h 1020"/>
              <a:gd name="T4" fmla="*/ 1167 w 1167"/>
              <a:gd name="T5" fmla="*/ 545 h 1020"/>
              <a:gd name="T6" fmla="*/ 1150 w 1167"/>
              <a:gd name="T7" fmla="*/ 548 h 1020"/>
              <a:gd name="T8" fmla="*/ 1077 w 1167"/>
              <a:gd name="T9" fmla="*/ 673 h 1020"/>
              <a:gd name="T10" fmla="*/ 1077 w 1167"/>
              <a:gd name="T11" fmla="*/ 838 h 1020"/>
              <a:gd name="T12" fmla="*/ 1033 w 1167"/>
              <a:gd name="T13" fmla="*/ 974 h 1020"/>
              <a:gd name="T14" fmla="*/ 909 w 1167"/>
              <a:gd name="T15" fmla="*/ 1020 h 1020"/>
              <a:gd name="T16" fmla="*/ 888 w 1167"/>
              <a:gd name="T17" fmla="*/ 1020 h 1020"/>
              <a:gd name="T18" fmla="*/ 888 w 1167"/>
              <a:gd name="T19" fmla="*/ 934 h 1020"/>
              <a:gd name="T20" fmla="*/ 907 w 1167"/>
              <a:gd name="T21" fmla="*/ 933 h 1020"/>
              <a:gd name="T22" fmla="*/ 964 w 1167"/>
              <a:gd name="T23" fmla="*/ 909 h 1020"/>
              <a:gd name="T24" fmla="*/ 981 w 1167"/>
              <a:gd name="T25" fmla="*/ 822 h 1020"/>
              <a:gd name="T26" fmla="*/ 981 w 1167"/>
              <a:gd name="T27" fmla="*/ 668 h 1020"/>
              <a:gd name="T28" fmla="*/ 1041 w 1167"/>
              <a:gd name="T29" fmla="*/ 511 h 1020"/>
              <a:gd name="T30" fmla="*/ 981 w 1167"/>
              <a:gd name="T31" fmla="*/ 362 h 1020"/>
              <a:gd name="T32" fmla="*/ 981 w 1167"/>
              <a:gd name="T33" fmla="*/ 199 h 1020"/>
              <a:gd name="T34" fmla="*/ 964 w 1167"/>
              <a:gd name="T35" fmla="*/ 111 h 1020"/>
              <a:gd name="T36" fmla="*/ 907 w 1167"/>
              <a:gd name="T37" fmla="*/ 88 h 1020"/>
              <a:gd name="T38" fmla="*/ 888 w 1167"/>
              <a:gd name="T39" fmla="*/ 87 h 1020"/>
              <a:gd name="T40" fmla="*/ 888 w 1167"/>
              <a:gd name="T41" fmla="*/ 0 h 1020"/>
              <a:gd name="T42" fmla="*/ 909 w 1167"/>
              <a:gd name="T43" fmla="*/ 1 h 1020"/>
              <a:gd name="T44" fmla="*/ 1033 w 1167"/>
              <a:gd name="T45" fmla="*/ 47 h 1020"/>
              <a:gd name="T46" fmla="*/ 1077 w 1167"/>
              <a:gd name="T47" fmla="*/ 183 h 1020"/>
              <a:gd name="T48" fmla="*/ 1077 w 1167"/>
              <a:gd name="T49" fmla="*/ 357 h 1020"/>
              <a:gd name="T50" fmla="*/ 1150 w 1167"/>
              <a:gd name="T51" fmla="*/ 473 h 1020"/>
              <a:gd name="T52" fmla="*/ 134 w 1167"/>
              <a:gd name="T53" fmla="*/ 47 h 1020"/>
              <a:gd name="T54" fmla="*/ 259 w 1167"/>
              <a:gd name="T55" fmla="*/ 1 h 1020"/>
              <a:gd name="T56" fmla="*/ 280 w 1167"/>
              <a:gd name="T57" fmla="*/ 0 h 1020"/>
              <a:gd name="T58" fmla="*/ 280 w 1167"/>
              <a:gd name="T59" fmla="*/ 87 h 1020"/>
              <a:gd name="T60" fmla="*/ 261 w 1167"/>
              <a:gd name="T61" fmla="*/ 88 h 1020"/>
              <a:gd name="T62" fmla="*/ 204 w 1167"/>
              <a:gd name="T63" fmla="*/ 111 h 1020"/>
              <a:gd name="T64" fmla="*/ 187 w 1167"/>
              <a:gd name="T65" fmla="*/ 199 h 1020"/>
              <a:gd name="T66" fmla="*/ 187 w 1167"/>
              <a:gd name="T67" fmla="*/ 362 h 1020"/>
              <a:gd name="T68" fmla="*/ 126 w 1167"/>
              <a:gd name="T69" fmla="*/ 511 h 1020"/>
              <a:gd name="T70" fmla="*/ 187 w 1167"/>
              <a:gd name="T71" fmla="*/ 668 h 1020"/>
              <a:gd name="T72" fmla="*/ 187 w 1167"/>
              <a:gd name="T73" fmla="*/ 822 h 1020"/>
              <a:gd name="T74" fmla="*/ 204 w 1167"/>
              <a:gd name="T75" fmla="*/ 909 h 1020"/>
              <a:gd name="T76" fmla="*/ 261 w 1167"/>
              <a:gd name="T77" fmla="*/ 933 h 1020"/>
              <a:gd name="T78" fmla="*/ 280 w 1167"/>
              <a:gd name="T79" fmla="*/ 934 h 1020"/>
              <a:gd name="T80" fmla="*/ 280 w 1167"/>
              <a:gd name="T81" fmla="*/ 1020 h 1020"/>
              <a:gd name="T82" fmla="*/ 259 w 1167"/>
              <a:gd name="T83" fmla="*/ 1020 h 1020"/>
              <a:gd name="T84" fmla="*/ 134 w 1167"/>
              <a:gd name="T85" fmla="*/ 974 h 1020"/>
              <a:gd name="T86" fmla="*/ 91 w 1167"/>
              <a:gd name="T87" fmla="*/ 838 h 1020"/>
              <a:gd name="T88" fmla="*/ 91 w 1167"/>
              <a:gd name="T89" fmla="*/ 673 h 1020"/>
              <a:gd name="T90" fmla="*/ 18 w 1167"/>
              <a:gd name="T91" fmla="*/ 548 h 1020"/>
              <a:gd name="T92" fmla="*/ 0 w 1167"/>
              <a:gd name="T93" fmla="*/ 545 h 1020"/>
              <a:gd name="T94" fmla="*/ 0 w 1167"/>
              <a:gd name="T95" fmla="*/ 475 h 1020"/>
              <a:gd name="T96" fmla="*/ 18 w 1167"/>
              <a:gd name="T97" fmla="*/ 473 h 1020"/>
              <a:gd name="T98" fmla="*/ 91 w 1167"/>
              <a:gd name="T99" fmla="*/ 357 h 1020"/>
              <a:gd name="T100" fmla="*/ 91 w 1167"/>
              <a:gd name="T101" fmla="*/ 183 h 1020"/>
              <a:gd name="T102" fmla="*/ 134 w 1167"/>
              <a:gd name="T103" fmla="*/ 47 h 10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67" h="1020">
                <a:moveTo>
                  <a:pt x="1150" y="473"/>
                </a:moveTo>
                <a:cubicBezTo>
                  <a:pt x="1167" y="475"/>
                  <a:pt x="1167" y="475"/>
                  <a:pt x="1167" y="475"/>
                </a:cubicBezTo>
                <a:cubicBezTo>
                  <a:pt x="1167" y="545"/>
                  <a:pt x="1167" y="545"/>
                  <a:pt x="1167" y="545"/>
                </a:cubicBezTo>
                <a:cubicBezTo>
                  <a:pt x="1150" y="548"/>
                  <a:pt x="1150" y="548"/>
                  <a:pt x="1150" y="548"/>
                </a:cubicBezTo>
                <a:cubicBezTo>
                  <a:pt x="1101" y="555"/>
                  <a:pt x="1077" y="594"/>
                  <a:pt x="1077" y="673"/>
                </a:cubicBezTo>
                <a:cubicBezTo>
                  <a:pt x="1077" y="838"/>
                  <a:pt x="1077" y="838"/>
                  <a:pt x="1077" y="838"/>
                </a:cubicBezTo>
                <a:cubicBezTo>
                  <a:pt x="1077" y="899"/>
                  <a:pt x="1063" y="945"/>
                  <a:pt x="1033" y="974"/>
                </a:cubicBezTo>
                <a:cubicBezTo>
                  <a:pt x="1004" y="1002"/>
                  <a:pt x="962" y="1018"/>
                  <a:pt x="909" y="1020"/>
                </a:cubicBezTo>
                <a:cubicBezTo>
                  <a:pt x="888" y="1020"/>
                  <a:pt x="888" y="1020"/>
                  <a:pt x="888" y="1020"/>
                </a:cubicBezTo>
                <a:cubicBezTo>
                  <a:pt x="888" y="934"/>
                  <a:pt x="888" y="934"/>
                  <a:pt x="888" y="934"/>
                </a:cubicBezTo>
                <a:cubicBezTo>
                  <a:pt x="907" y="933"/>
                  <a:pt x="907" y="933"/>
                  <a:pt x="907" y="933"/>
                </a:cubicBezTo>
                <a:cubicBezTo>
                  <a:pt x="935" y="931"/>
                  <a:pt x="954" y="923"/>
                  <a:pt x="964" y="909"/>
                </a:cubicBezTo>
                <a:cubicBezTo>
                  <a:pt x="975" y="894"/>
                  <a:pt x="981" y="865"/>
                  <a:pt x="981" y="822"/>
                </a:cubicBezTo>
                <a:cubicBezTo>
                  <a:pt x="981" y="668"/>
                  <a:pt x="981" y="668"/>
                  <a:pt x="981" y="668"/>
                </a:cubicBezTo>
                <a:cubicBezTo>
                  <a:pt x="981" y="594"/>
                  <a:pt x="1001" y="541"/>
                  <a:pt x="1041" y="511"/>
                </a:cubicBezTo>
                <a:cubicBezTo>
                  <a:pt x="1001" y="483"/>
                  <a:pt x="981" y="432"/>
                  <a:pt x="981" y="362"/>
                </a:cubicBezTo>
                <a:cubicBezTo>
                  <a:pt x="981" y="199"/>
                  <a:pt x="981" y="199"/>
                  <a:pt x="981" y="199"/>
                </a:cubicBezTo>
                <a:cubicBezTo>
                  <a:pt x="981" y="156"/>
                  <a:pt x="975" y="126"/>
                  <a:pt x="964" y="111"/>
                </a:cubicBezTo>
                <a:cubicBezTo>
                  <a:pt x="954" y="97"/>
                  <a:pt x="935" y="89"/>
                  <a:pt x="907" y="88"/>
                </a:cubicBezTo>
                <a:cubicBezTo>
                  <a:pt x="888" y="87"/>
                  <a:pt x="888" y="87"/>
                  <a:pt x="888" y="87"/>
                </a:cubicBezTo>
                <a:cubicBezTo>
                  <a:pt x="888" y="0"/>
                  <a:pt x="888" y="0"/>
                  <a:pt x="888" y="0"/>
                </a:cubicBezTo>
                <a:cubicBezTo>
                  <a:pt x="909" y="1"/>
                  <a:pt x="909" y="1"/>
                  <a:pt x="909" y="1"/>
                </a:cubicBezTo>
                <a:cubicBezTo>
                  <a:pt x="962" y="3"/>
                  <a:pt x="1004" y="18"/>
                  <a:pt x="1033" y="47"/>
                </a:cubicBezTo>
                <a:cubicBezTo>
                  <a:pt x="1063" y="76"/>
                  <a:pt x="1077" y="122"/>
                  <a:pt x="1077" y="183"/>
                </a:cubicBezTo>
                <a:cubicBezTo>
                  <a:pt x="1077" y="357"/>
                  <a:pt x="1077" y="357"/>
                  <a:pt x="1077" y="357"/>
                </a:cubicBezTo>
                <a:cubicBezTo>
                  <a:pt x="1077" y="430"/>
                  <a:pt x="1101" y="466"/>
                  <a:pt x="1150" y="473"/>
                </a:cubicBezTo>
                <a:close/>
                <a:moveTo>
                  <a:pt x="134" y="47"/>
                </a:moveTo>
                <a:cubicBezTo>
                  <a:pt x="163" y="18"/>
                  <a:pt x="205" y="3"/>
                  <a:pt x="259" y="1"/>
                </a:cubicBezTo>
                <a:cubicBezTo>
                  <a:pt x="280" y="0"/>
                  <a:pt x="280" y="0"/>
                  <a:pt x="280" y="0"/>
                </a:cubicBezTo>
                <a:cubicBezTo>
                  <a:pt x="280" y="87"/>
                  <a:pt x="280" y="87"/>
                  <a:pt x="280" y="87"/>
                </a:cubicBezTo>
                <a:cubicBezTo>
                  <a:pt x="261" y="88"/>
                  <a:pt x="261" y="88"/>
                  <a:pt x="261" y="88"/>
                </a:cubicBezTo>
                <a:cubicBezTo>
                  <a:pt x="232" y="89"/>
                  <a:pt x="214" y="97"/>
                  <a:pt x="204" y="111"/>
                </a:cubicBezTo>
                <a:cubicBezTo>
                  <a:pt x="193" y="126"/>
                  <a:pt x="187" y="156"/>
                  <a:pt x="187" y="199"/>
                </a:cubicBezTo>
                <a:cubicBezTo>
                  <a:pt x="187" y="362"/>
                  <a:pt x="187" y="362"/>
                  <a:pt x="187" y="362"/>
                </a:cubicBezTo>
                <a:cubicBezTo>
                  <a:pt x="187" y="433"/>
                  <a:pt x="167" y="483"/>
                  <a:pt x="126" y="511"/>
                </a:cubicBezTo>
                <a:cubicBezTo>
                  <a:pt x="167" y="540"/>
                  <a:pt x="187" y="594"/>
                  <a:pt x="187" y="668"/>
                </a:cubicBezTo>
                <a:cubicBezTo>
                  <a:pt x="187" y="822"/>
                  <a:pt x="187" y="822"/>
                  <a:pt x="187" y="822"/>
                </a:cubicBezTo>
                <a:cubicBezTo>
                  <a:pt x="187" y="865"/>
                  <a:pt x="193" y="894"/>
                  <a:pt x="204" y="909"/>
                </a:cubicBezTo>
                <a:cubicBezTo>
                  <a:pt x="214" y="923"/>
                  <a:pt x="232" y="931"/>
                  <a:pt x="261" y="933"/>
                </a:cubicBezTo>
                <a:cubicBezTo>
                  <a:pt x="280" y="934"/>
                  <a:pt x="280" y="934"/>
                  <a:pt x="280" y="934"/>
                </a:cubicBezTo>
                <a:cubicBezTo>
                  <a:pt x="280" y="1020"/>
                  <a:pt x="280" y="1020"/>
                  <a:pt x="280" y="1020"/>
                </a:cubicBezTo>
                <a:cubicBezTo>
                  <a:pt x="259" y="1020"/>
                  <a:pt x="259" y="1020"/>
                  <a:pt x="259" y="1020"/>
                </a:cubicBezTo>
                <a:cubicBezTo>
                  <a:pt x="205" y="1018"/>
                  <a:pt x="163" y="1002"/>
                  <a:pt x="134" y="974"/>
                </a:cubicBezTo>
                <a:cubicBezTo>
                  <a:pt x="105" y="945"/>
                  <a:pt x="91" y="899"/>
                  <a:pt x="91" y="838"/>
                </a:cubicBezTo>
                <a:cubicBezTo>
                  <a:pt x="91" y="673"/>
                  <a:pt x="91" y="673"/>
                  <a:pt x="91" y="673"/>
                </a:cubicBezTo>
                <a:cubicBezTo>
                  <a:pt x="91" y="594"/>
                  <a:pt x="67" y="555"/>
                  <a:pt x="18" y="548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475"/>
                  <a:pt x="0" y="475"/>
                  <a:pt x="0" y="475"/>
                </a:cubicBezTo>
                <a:cubicBezTo>
                  <a:pt x="18" y="473"/>
                  <a:pt x="18" y="473"/>
                  <a:pt x="18" y="473"/>
                </a:cubicBezTo>
                <a:cubicBezTo>
                  <a:pt x="67" y="466"/>
                  <a:pt x="91" y="430"/>
                  <a:pt x="91" y="357"/>
                </a:cubicBezTo>
                <a:cubicBezTo>
                  <a:pt x="91" y="183"/>
                  <a:pt x="91" y="183"/>
                  <a:pt x="91" y="183"/>
                </a:cubicBezTo>
                <a:cubicBezTo>
                  <a:pt x="91" y="122"/>
                  <a:pt x="105" y="76"/>
                  <a:pt x="134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defTabSz="914214">
              <a:defRPr/>
            </a:pPr>
            <a:endParaRPr lang="en-US" sz="1730">
              <a:solidFill>
                <a:srgbClr val="3F3F3F"/>
              </a:solidFill>
              <a:latin typeface="Segoe UI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5289C6D-BB63-4639-B9FA-AA8EB01B494E}"/>
              </a:ext>
            </a:extLst>
          </p:cNvPr>
          <p:cNvSpPr/>
          <p:nvPr/>
        </p:nvSpPr>
        <p:spPr>
          <a:xfrm>
            <a:off x="6420365" y="5495684"/>
            <a:ext cx="24688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52">
              <a:defRPr/>
            </a:pPr>
            <a: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asily perform speech </a:t>
            </a:r>
            <a:b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text translati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E98BA21-FDA3-41B7-8F2A-0F29C5CA0966}"/>
              </a:ext>
            </a:extLst>
          </p:cNvPr>
          <p:cNvSpPr txBox="1"/>
          <p:nvPr/>
        </p:nvSpPr>
        <p:spPr>
          <a:xfrm>
            <a:off x="6420365" y="5168864"/>
            <a:ext cx="2468842" cy="338549"/>
          </a:xfrm>
          <a:prstGeom prst="rect">
            <a:avLst/>
          </a:prstGeom>
          <a:noFill/>
        </p:spPr>
        <p:txBody>
          <a:bodyPr wrap="square" lIns="91438" tIns="45719" rIns="91438" bIns="45719" rtlCol="0" anchor="ctr">
            <a:noAutofit/>
          </a:bodyPr>
          <a:lstStyle>
            <a:defPPr>
              <a:defRPr lang="en-US"/>
            </a:defPPr>
            <a:lvl1pPr algn="ctr" defTabSz="913841">
              <a:defRPr sz="1600" b="1">
                <a:cs typeface="Segoe UI Semibold" panose="020B0702040204020203" pitchFamily="34" charset="0"/>
              </a:defRPr>
            </a:lvl1pPr>
          </a:lstStyle>
          <a:p>
            <a:pPr defTabSz="913829">
              <a:defRPr/>
            </a:pPr>
            <a:r>
              <a:rPr lang="en-US" b="0">
                <a:solidFill>
                  <a:srgbClr val="E3008C"/>
                </a:solidFill>
                <a:latin typeface="Segoe UI Semibold"/>
              </a:rPr>
              <a:t>Translator</a:t>
            </a:r>
          </a:p>
        </p:txBody>
      </p:sp>
      <p:grpSp>
        <p:nvGrpSpPr>
          <p:cNvPr id="56" name="Group 23">
            <a:extLst>
              <a:ext uri="{FF2B5EF4-FFF2-40B4-BE49-F238E27FC236}">
                <a16:creationId xmlns:a16="http://schemas.microsoft.com/office/drawing/2014/main" id="{2C42F0A8-2B11-42C9-9B2A-7E7A68A8BB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83914" y="4320031"/>
            <a:ext cx="357981" cy="358890"/>
            <a:chOff x="0" y="2"/>
            <a:chExt cx="2361" cy="2367"/>
          </a:xfrm>
          <a:solidFill>
            <a:schemeClr val="accent1"/>
          </a:solidFill>
        </p:grpSpPr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EB83537B-3A61-4CB1-9126-D37B7A16BF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" y="1188"/>
              <a:ext cx="851" cy="1168"/>
            </a:xfrm>
            <a:custGeom>
              <a:avLst/>
              <a:gdLst>
                <a:gd name="T0" fmla="*/ 224 w 409"/>
                <a:gd name="T1" fmla="*/ 74 h 561"/>
                <a:gd name="T2" fmla="*/ 73 w 409"/>
                <a:gd name="T3" fmla="*/ 137 h 561"/>
                <a:gd name="T4" fmla="*/ 46 w 409"/>
                <a:gd name="T5" fmla="*/ 160 h 561"/>
                <a:gd name="T6" fmla="*/ 46 w 409"/>
                <a:gd name="T7" fmla="*/ 62 h 561"/>
                <a:gd name="T8" fmla="*/ 52 w 409"/>
                <a:gd name="T9" fmla="*/ 57 h 561"/>
                <a:gd name="T10" fmla="*/ 133 w 409"/>
                <a:gd name="T11" fmla="*/ 17 h 561"/>
                <a:gd name="T12" fmla="*/ 229 w 409"/>
                <a:gd name="T13" fmla="*/ 0 h 561"/>
                <a:gd name="T14" fmla="*/ 362 w 409"/>
                <a:gd name="T15" fmla="*/ 54 h 561"/>
                <a:gd name="T16" fmla="*/ 409 w 409"/>
                <a:gd name="T17" fmla="*/ 205 h 561"/>
                <a:gd name="T18" fmla="*/ 409 w 409"/>
                <a:gd name="T19" fmla="*/ 549 h 561"/>
                <a:gd name="T20" fmla="*/ 330 w 409"/>
                <a:gd name="T21" fmla="*/ 549 h 561"/>
                <a:gd name="T22" fmla="*/ 330 w 409"/>
                <a:gd name="T23" fmla="*/ 485 h 561"/>
                <a:gd name="T24" fmla="*/ 284 w 409"/>
                <a:gd name="T25" fmla="*/ 527 h 561"/>
                <a:gd name="T26" fmla="*/ 172 w 409"/>
                <a:gd name="T27" fmla="*/ 561 h 561"/>
                <a:gd name="T28" fmla="*/ 47 w 409"/>
                <a:gd name="T29" fmla="*/ 516 h 561"/>
                <a:gd name="T30" fmla="*/ 0 w 409"/>
                <a:gd name="T31" fmla="*/ 402 h 561"/>
                <a:gd name="T32" fmla="*/ 189 w 409"/>
                <a:gd name="T33" fmla="*/ 227 h 561"/>
                <a:gd name="T34" fmla="*/ 330 w 409"/>
                <a:gd name="T35" fmla="*/ 206 h 561"/>
                <a:gd name="T36" fmla="*/ 224 w 409"/>
                <a:gd name="T37" fmla="*/ 74 h 561"/>
                <a:gd name="T38" fmla="*/ 210 w 409"/>
                <a:gd name="T39" fmla="*/ 298 h 561"/>
                <a:gd name="T40" fmla="*/ 106 w 409"/>
                <a:gd name="T41" fmla="*/ 331 h 561"/>
                <a:gd name="T42" fmla="*/ 81 w 409"/>
                <a:gd name="T43" fmla="*/ 400 h 561"/>
                <a:gd name="T44" fmla="*/ 106 w 409"/>
                <a:gd name="T45" fmla="*/ 462 h 561"/>
                <a:gd name="T46" fmla="*/ 177 w 409"/>
                <a:gd name="T47" fmla="*/ 487 h 561"/>
                <a:gd name="T48" fmla="*/ 286 w 409"/>
                <a:gd name="T49" fmla="*/ 438 h 561"/>
                <a:gd name="T50" fmla="*/ 330 w 409"/>
                <a:gd name="T51" fmla="*/ 310 h 561"/>
                <a:gd name="T52" fmla="*/ 330 w 409"/>
                <a:gd name="T53" fmla="*/ 280 h 561"/>
                <a:gd name="T54" fmla="*/ 210 w 409"/>
                <a:gd name="T55" fmla="*/ 29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9" h="561">
                  <a:moveTo>
                    <a:pt x="224" y="74"/>
                  </a:moveTo>
                  <a:cubicBezTo>
                    <a:pt x="173" y="74"/>
                    <a:pt x="123" y="95"/>
                    <a:pt x="73" y="137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72" y="41"/>
                    <a:pt x="100" y="28"/>
                    <a:pt x="133" y="17"/>
                  </a:cubicBezTo>
                  <a:cubicBezTo>
                    <a:pt x="167" y="6"/>
                    <a:pt x="199" y="0"/>
                    <a:pt x="229" y="0"/>
                  </a:cubicBezTo>
                  <a:cubicBezTo>
                    <a:pt x="285" y="0"/>
                    <a:pt x="330" y="18"/>
                    <a:pt x="362" y="54"/>
                  </a:cubicBezTo>
                  <a:cubicBezTo>
                    <a:pt x="393" y="89"/>
                    <a:pt x="409" y="140"/>
                    <a:pt x="409" y="205"/>
                  </a:cubicBezTo>
                  <a:cubicBezTo>
                    <a:pt x="409" y="549"/>
                    <a:pt x="409" y="549"/>
                    <a:pt x="409" y="549"/>
                  </a:cubicBezTo>
                  <a:cubicBezTo>
                    <a:pt x="330" y="549"/>
                    <a:pt x="330" y="549"/>
                    <a:pt x="330" y="549"/>
                  </a:cubicBezTo>
                  <a:cubicBezTo>
                    <a:pt x="330" y="485"/>
                    <a:pt x="330" y="485"/>
                    <a:pt x="330" y="485"/>
                  </a:cubicBezTo>
                  <a:cubicBezTo>
                    <a:pt x="317" y="502"/>
                    <a:pt x="301" y="516"/>
                    <a:pt x="284" y="527"/>
                  </a:cubicBezTo>
                  <a:cubicBezTo>
                    <a:pt x="250" y="550"/>
                    <a:pt x="213" y="561"/>
                    <a:pt x="172" y="561"/>
                  </a:cubicBezTo>
                  <a:cubicBezTo>
                    <a:pt x="120" y="561"/>
                    <a:pt x="78" y="546"/>
                    <a:pt x="47" y="516"/>
                  </a:cubicBezTo>
                  <a:cubicBezTo>
                    <a:pt x="16" y="486"/>
                    <a:pt x="0" y="448"/>
                    <a:pt x="0" y="402"/>
                  </a:cubicBezTo>
                  <a:cubicBezTo>
                    <a:pt x="0" y="305"/>
                    <a:pt x="65" y="246"/>
                    <a:pt x="189" y="227"/>
                  </a:cubicBezTo>
                  <a:cubicBezTo>
                    <a:pt x="330" y="206"/>
                    <a:pt x="330" y="206"/>
                    <a:pt x="330" y="206"/>
                  </a:cubicBezTo>
                  <a:cubicBezTo>
                    <a:pt x="327" y="116"/>
                    <a:pt x="292" y="74"/>
                    <a:pt x="224" y="74"/>
                  </a:cubicBezTo>
                  <a:close/>
                  <a:moveTo>
                    <a:pt x="210" y="298"/>
                  </a:moveTo>
                  <a:cubicBezTo>
                    <a:pt x="160" y="305"/>
                    <a:pt x="125" y="316"/>
                    <a:pt x="106" y="331"/>
                  </a:cubicBezTo>
                  <a:cubicBezTo>
                    <a:pt x="90" y="344"/>
                    <a:pt x="81" y="367"/>
                    <a:pt x="81" y="400"/>
                  </a:cubicBezTo>
                  <a:cubicBezTo>
                    <a:pt x="81" y="426"/>
                    <a:pt x="89" y="446"/>
                    <a:pt x="106" y="462"/>
                  </a:cubicBezTo>
                  <a:cubicBezTo>
                    <a:pt x="122" y="478"/>
                    <a:pt x="146" y="487"/>
                    <a:pt x="177" y="487"/>
                  </a:cubicBezTo>
                  <a:cubicBezTo>
                    <a:pt x="221" y="487"/>
                    <a:pt x="257" y="471"/>
                    <a:pt x="286" y="438"/>
                  </a:cubicBezTo>
                  <a:cubicBezTo>
                    <a:pt x="316" y="406"/>
                    <a:pt x="330" y="363"/>
                    <a:pt x="330" y="310"/>
                  </a:cubicBezTo>
                  <a:cubicBezTo>
                    <a:pt x="330" y="280"/>
                    <a:pt x="330" y="280"/>
                    <a:pt x="330" y="280"/>
                  </a:cubicBezTo>
                  <a:lnTo>
                    <a:pt x="210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  <p:sp>
          <p:nvSpPr>
            <p:cNvPr id="58" name="Freeform 25">
              <a:extLst>
                <a:ext uri="{FF2B5EF4-FFF2-40B4-BE49-F238E27FC236}">
                  <a16:creationId xmlns:a16="http://schemas.microsoft.com/office/drawing/2014/main" id="{009B1F4F-15FD-4A77-A20D-C71EDA407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" y="1665"/>
              <a:ext cx="1048" cy="704"/>
            </a:xfrm>
            <a:custGeom>
              <a:avLst/>
              <a:gdLst>
                <a:gd name="T0" fmla="*/ 251 w 504"/>
                <a:gd name="T1" fmla="*/ 153 h 338"/>
                <a:gd name="T2" fmla="*/ 270 w 504"/>
                <a:gd name="T3" fmla="*/ 129 h 338"/>
                <a:gd name="T4" fmla="*/ 145 w 504"/>
                <a:gd name="T5" fmla="*/ 17 h 338"/>
                <a:gd name="T6" fmla="*/ 462 w 504"/>
                <a:gd name="T7" fmla="*/ 0 h 338"/>
                <a:gd name="T8" fmla="*/ 487 w 504"/>
                <a:gd name="T9" fmla="*/ 23 h 338"/>
                <a:gd name="T10" fmla="*/ 504 w 504"/>
                <a:gd name="T11" fmla="*/ 338 h 338"/>
                <a:gd name="T12" fmla="*/ 386 w 504"/>
                <a:gd name="T13" fmla="*/ 233 h 338"/>
                <a:gd name="T14" fmla="*/ 14 w 504"/>
                <a:gd name="T15" fmla="*/ 230 h 338"/>
                <a:gd name="T16" fmla="*/ 0 w 504"/>
                <a:gd name="T17" fmla="*/ 217 h 338"/>
                <a:gd name="T18" fmla="*/ 251 w 504"/>
                <a:gd name="T19" fmla="*/ 153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4" h="338">
                  <a:moveTo>
                    <a:pt x="251" y="153"/>
                  </a:moveTo>
                  <a:cubicBezTo>
                    <a:pt x="258" y="145"/>
                    <a:pt x="264" y="137"/>
                    <a:pt x="270" y="129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462" y="0"/>
                    <a:pt x="462" y="0"/>
                    <a:pt x="462" y="0"/>
                  </a:cubicBezTo>
                  <a:cubicBezTo>
                    <a:pt x="475" y="0"/>
                    <a:pt x="487" y="10"/>
                    <a:pt x="487" y="23"/>
                  </a:cubicBezTo>
                  <a:cubicBezTo>
                    <a:pt x="504" y="338"/>
                    <a:pt x="504" y="338"/>
                    <a:pt x="504" y="338"/>
                  </a:cubicBezTo>
                  <a:cubicBezTo>
                    <a:pt x="386" y="233"/>
                    <a:pt x="386" y="233"/>
                    <a:pt x="386" y="233"/>
                  </a:cubicBezTo>
                  <a:cubicBezTo>
                    <a:pt x="281" y="324"/>
                    <a:pt x="121" y="326"/>
                    <a:pt x="14" y="230"/>
                  </a:cubicBezTo>
                  <a:cubicBezTo>
                    <a:pt x="10" y="226"/>
                    <a:pt x="4" y="221"/>
                    <a:pt x="0" y="217"/>
                  </a:cubicBezTo>
                  <a:cubicBezTo>
                    <a:pt x="86" y="246"/>
                    <a:pt x="186" y="225"/>
                    <a:pt x="251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  <p:sp>
          <p:nvSpPr>
            <p:cNvPr id="59" name="Freeform 26">
              <a:extLst>
                <a:ext uri="{FF2B5EF4-FFF2-40B4-BE49-F238E27FC236}">
                  <a16:creationId xmlns:a16="http://schemas.microsoft.com/office/drawing/2014/main" id="{D06FE835-A961-41C1-BD1C-4640EFCA1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9"/>
              <a:ext cx="1048" cy="704"/>
            </a:xfrm>
            <a:custGeom>
              <a:avLst/>
              <a:gdLst>
                <a:gd name="T0" fmla="*/ 253 w 504"/>
                <a:gd name="T1" fmla="*/ 184 h 338"/>
                <a:gd name="T2" fmla="*/ 234 w 504"/>
                <a:gd name="T3" fmla="*/ 209 h 338"/>
                <a:gd name="T4" fmla="*/ 359 w 504"/>
                <a:gd name="T5" fmla="*/ 321 h 338"/>
                <a:gd name="T6" fmla="*/ 42 w 504"/>
                <a:gd name="T7" fmla="*/ 338 h 338"/>
                <a:gd name="T8" fmla="*/ 17 w 504"/>
                <a:gd name="T9" fmla="*/ 314 h 338"/>
                <a:gd name="T10" fmla="*/ 0 w 504"/>
                <a:gd name="T11" fmla="*/ 0 h 338"/>
                <a:gd name="T12" fmla="*/ 118 w 504"/>
                <a:gd name="T13" fmla="*/ 105 h 338"/>
                <a:gd name="T14" fmla="*/ 489 w 504"/>
                <a:gd name="T15" fmla="*/ 107 h 338"/>
                <a:gd name="T16" fmla="*/ 504 w 504"/>
                <a:gd name="T17" fmla="*/ 121 h 338"/>
                <a:gd name="T18" fmla="*/ 253 w 504"/>
                <a:gd name="T19" fmla="*/ 184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4" h="338">
                  <a:moveTo>
                    <a:pt x="253" y="184"/>
                  </a:moveTo>
                  <a:cubicBezTo>
                    <a:pt x="245" y="192"/>
                    <a:pt x="239" y="201"/>
                    <a:pt x="234" y="209"/>
                  </a:cubicBezTo>
                  <a:cubicBezTo>
                    <a:pt x="359" y="321"/>
                    <a:pt x="359" y="321"/>
                    <a:pt x="359" y="321"/>
                  </a:cubicBezTo>
                  <a:cubicBezTo>
                    <a:pt x="42" y="338"/>
                    <a:pt x="42" y="338"/>
                    <a:pt x="42" y="338"/>
                  </a:cubicBezTo>
                  <a:cubicBezTo>
                    <a:pt x="28" y="338"/>
                    <a:pt x="17" y="328"/>
                    <a:pt x="17" y="3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223" y="13"/>
                    <a:pt x="382" y="11"/>
                    <a:pt x="489" y="107"/>
                  </a:cubicBezTo>
                  <a:cubicBezTo>
                    <a:pt x="494" y="112"/>
                    <a:pt x="499" y="116"/>
                    <a:pt x="504" y="121"/>
                  </a:cubicBezTo>
                  <a:cubicBezTo>
                    <a:pt x="417" y="91"/>
                    <a:pt x="317" y="113"/>
                    <a:pt x="253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  <p:sp>
          <p:nvSpPr>
            <p:cNvPr id="60" name="Freeform 27">
              <a:extLst>
                <a:ext uri="{FF2B5EF4-FFF2-40B4-BE49-F238E27FC236}">
                  <a16:creationId xmlns:a16="http://schemas.microsoft.com/office/drawing/2014/main" id="{CB1D1C27-8713-4CA2-AC1A-95BEC2782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4" y="2"/>
              <a:ext cx="1167" cy="1271"/>
            </a:xfrm>
            <a:custGeom>
              <a:avLst/>
              <a:gdLst>
                <a:gd name="T0" fmla="*/ 527 w 561"/>
                <a:gd name="T1" fmla="*/ 78 h 610"/>
                <a:gd name="T2" fmla="*/ 544 w 561"/>
                <a:gd name="T3" fmla="*/ 77 h 610"/>
                <a:gd name="T4" fmla="*/ 548 w 561"/>
                <a:gd name="T5" fmla="*/ 142 h 610"/>
                <a:gd name="T6" fmla="*/ 531 w 561"/>
                <a:gd name="T7" fmla="*/ 143 h 610"/>
                <a:gd name="T8" fmla="*/ 248 w 561"/>
                <a:gd name="T9" fmla="*/ 153 h 610"/>
                <a:gd name="T10" fmla="*/ 244 w 561"/>
                <a:gd name="T11" fmla="*/ 215 h 610"/>
                <a:gd name="T12" fmla="*/ 332 w 561"/>
                <a:gd name="T13" fmla="*/ 207 h 610"/>
                <a:gd name="T14" fmla="*/ 358 w 561"/>
                <a:gd name="T15" fmla="*/ 208 h 610"/>
                <a:gd name="T16" fmla="*/ 369 w 561"/>
                <a:gd name="T17" fmla="*/ 167 h 610"/>
                <a:gd name="T18" fmla="*/ 434 w 561"/>
                <a:gd name="T19" fmla="*/ 182 h 610"/>
                <a:gd name="T20" fmla="*/ 430 w 561"/>
                <a:gd name="T21" fmla="*/ 198 h 610"/>
                <a:gd name="T22" fmla="*/ 424 w 561"/>
                <a:gd name="T23" fmla="*/ 221 h 610"/>
                <a:gd name="T24" fmla="*/ 485 w 561"/>
                <a:gd name="T25" fmla="*/ 252 h 610"/>
                <a:gd name="T26" fmla="*/ 561 w 561"/>
                <a:gd name="T27" fmla="*/ 396 h 610"/>
                <a:gd name="T28" fmla="*/ 498 w 561"/>
                <a:gd name="T29" fmla="*/ 544 h 610"/>
                <a:gd name="T30" fmla="*/ 332 w 561"/>
                <a:gd name="T31" fmla="*/ 608 h 610"/>
                <a:gd name="T32" fmla="*/ 319 w 561"/>
                <a:gd name="T33" fmla="*/ 610 h 610"/>
                <a:gd name="T34" fmla="*/ 294 w 561"/>
                <a:gd name="T35" fmla="*/ 548 h 610"/>
                <a:gd name="T36" fmla="*/ 315 w 561"/>
                <a:gd name="T37" fmla="*/ 545 h 610"/>
                <a:gd name="T38" fmla="*/ 448 w 561"/>
                <a:gd name="T39" fmla="*/ 495 h 610"/>
                <a:gd name="T40" fmla="*/ 493 w 561"/>
                <a:gd name="T41" fmla="*/ 396 h 610"/>
                <a:gd name="T42" fmla="*/ 442 w 561"/>
                <a:gd name="T43" fmla="*/ 303 h 610"/>
                <a:gd name="T44" fmla="*/ 406 w 561"/>
                <a:gd name="T45" fmla="*/ 285 h 610"/>
                <a:gd name="T46" fmla="*/ 335 w 561"/>
                <a:gd name="T47" fmla="*/ 438 h 610"/>
                <a:gd name="T48" fmla="*/ 114 w 561"/>
                <a:gd name="T49" fmla="*/ 580 h 610"/>
                <a:gd name="T50" fmla="*/ 29 w 561"/>
                <a:gd name="T51" fmla="*/ 546 h 610"/>
                <a:gd name="T52" fmla="*/ 0 w 561"/>
                <a:gd name="T53" fmla="*/ 457 h 610"/>
                <a:gd name="T54" fmla="*/ 93 w 561"/>
                <a:gd name="T55" fmla="*/ 284 h 610"/>
                <a:gd name="T56" fmla="*/ 175 w 561"/>
                <a:gd name="T57" fmla="*/ 236 h 610"/>
                <a:gd name="T58" fmla="*/ 179 w 561"/>
                <a:gd name="T59" fmla="*/ 154 h 610"/>
                <a:gd name="T60" fmla="*/ 115 w 561"/>
                <a:gd name="T61" fmla="*/ 155 h 610"/>
                <a:gd name="T62" fmla="*/ 27 w 561"/>
                <a:gd name="T63" fmla="*/ 155 h 610"/>
                <a:gd name="T64" fmla="*/ 10 w 561"/>
                <a:gd name="T65" fmla="*/ 155 h 610"/>
                <a:gd name="T66" fmla="*/ 10 w 561"/>
                <a:gd name="T67" fmla="*/ 89 h 610"/>
                <a:gd name="T68" fmla="*/ 27 w 561"/>
                <a:gd name="T69" fmla="*/ 89 h 610"/>
                <a:gd name="T70" fmla="*/ 117 w 561"/>
                <a:gd name="T71" fmla="*/ 89 h 610"/>
                <a:gd name="T72" fmla="*/ 186 w 561"/>
                <a:gd name="T73" fmla="*/ 88 h 610"/>
                <a:gd name="T74" fmla="*/ 198 w 561"/>
                <a:gd name="T75" fmla="*/ 17 h 610"/>
                <a:gd name="T76" fmla="*/ 201 w 561"/>
                <a:gd name="T77" fmla="*/ 0 h 610"/>
                <a:gd name="T78" fmla="*/ 268 w 561"/>
                <a:gd name="T79" fmla="*/ 16 h 610"/>
                <a:gd name="T80" fmla="*/ 265 w 561"/>
                <a:gd name="T81" fmla="*/ 31 h 610"/>
                <a:gd name="T82" fmla="*/ 255 w 561"/>
                <a:gd name="T83" fmla="*/ 87 h 610"/>
                <a:gd name="T84" fmla="*/ 527 w 561"/>
                <a:gd name="T85" fmla="*/ 78 h 610"/>
                <a:gd name="T86" fmla="*/ 332 w 561"/>
                <a:gd name="T87" fmla="*/ 273 h 610"/>
                <a:gd name="T88" fmla="*/ 242 w 561"/>
                <a:gd name="T89" fmla="*/ 283 h 610"/>
                <a:gd name="T90" fmla="*/ 242 w 561"/>
                <a:gd name="T91" fmla="*/ 285 h 610"/>
                <a:gd name="T92" fmla="*/ 252 w 561"/>
                <a:gd name="T93" fmla="*/ 438 h 610"/>
                <a:gd name="T94" fmla="*/ 277 w 561"/>
                <a:gd name="T95" fmla="*/ 403 h 610"/>
                <a:gd name="T96" fmla="*/ 339 w 561"/>
                <a:gd name="T97" fmla="*/ 273 h 610"/>
                <a:gd name="T98" fmla="*/ 332 w 561"/>
                <a:gd name="T99" fmla="*/ 273 h 610"/>
                <a:gd name="T100" fmla="*/ 137 w 561"/>
                <a:gd name="T101" fmla="*/ 335 h 610"/>
                <a:gd name="T102" fmla="*/ 68 w 561"/>
                <a:gd name="T103" fmla="*/ 457 h 610"/>
                <a:gd name="T104" fmla="*/ 114 w 561"/>
                <a:gd name="T105" fmla="*/ 514 h 610"/>
                <a:gd name="T106" fmla="*/ 192 w 561"/>
                <a:gd name="T107" fmla="*/ 493 h 610"/>
                <a:gd name="T108" fmla="*/ 174 w 561"/>
                <a:gd name="T109" fmla="*/ 311 h 610"/>
                <a:gd name="T110" fmla="*/ 137 w 561"/>
                <a:gd name="T111" fmla="*/ 335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61" h="610">
                  <a:moveTo>
                    <a:pt x="527" y="78"/>
                  </a:moveTo>
                  <a:cubicBezTo>
                    <a:pt x="544" y="77"/>
                    <a:pt x="544" y="77"/>
                    <a:pt x="544" y="77"/>
                  </a:cubicBezTo>
                  <a:cubicBezTo>
                    <a:pt x="548" y="142"/>
                    <a:pt x="548" y="142"/>
                    <a:pt x="548" y="142"/>
                  </a:cubicBezTo>
                  <a:cubicBezTo>
                    <a:pt x="531" y="143"/>
                    <a:pt x="531" y="143"/>
                    <a:pt x="531" y="143"/>
                  </a:cubicBezTo>
                  <a:cubicBezTo>
                    <a:pt x="457" y="148"/>
                    <a:pt x="364" y="151"/>
                    <a:pt x="248" y="153"/>
                  </a:cubicBezTo>
                  <a:cubicBezTo>
                    <a:pt x="246" y="173"/>
                    <a:pt x="245" y="193"/>
                    <a:pt x="244" y="215"/>
                  </a:cubicBezTo>
                  <a:cubicBezTo>
                    <a:pt x="271" y="210"/>
                    <a:pt x="300" y="207"/>
                    <a:pt x="332" y="207"/>
                  </a:cubicBezTo>
                  <a:cubicBezTo>
                    <a:pt x="341" y="207"/>
                    <a:pt x="350" y="208"/>
                    <a:pt x="358" y="208"/>
                  </a:cubicBezTo>
                  <a:cubicBezTo>
                    <a:pt x="369" y="167"/>
                    <a:pt x="369" y="167"/>
                    <a:pt x="369" y="167"/>
                  </a:cubicBezTo>
                  <a:cubicBezTo>
                    <a:pt x="434" y="182"/>
                    <a:pt x="434" y="182"/>
                    <a:pt x="434" y="182"/>
                  </a:cubicBezTo>
                  <a:cubicBezTo>
                    <a:pt x="430" y="198"/>
                    <a:pt x="430" y="198"/>
                    <a:pt x="430" y="198"/>
                  </a:cubicBezTo>
                  <a:cubicBezTo>
                    <a:pt x="428" y="206"/>
                    <a:pt x="427" y="212"/>
                    <a:pt x="424" y="221"/>
                  </a:cubicBezTo>
                  <a:cubicBezTo>
                    <a:pt x="446" y="228"/>
                    <a:pt x="467" y="239"/>
                    <a:pt x="485" y="252"/>
                  </a:cubicBezTo>
                  <a:cubicBezTo>
                    <a:pt x="536" y="287"/>
                    <a:pt x="561" y="335"/>
                    <a:pt x="561" y="396"/>
                  </a:cubicBezTo>
                  <a:cubicBezTo>
                    <a:pt x="561" y="458"/>
                    <a:pt x="540" y="508"/>
                    <a:pt x="498" y="544"/>
                  </a:cubicBezTo>
                  <a:cubicBezTo>
                    <a:pt x="459" y="577"/>
                    <a:pt x="403" y="599"/>
                    <a:pt x="332" y="608"/>
                  </a:cubicBezTo>
                  <a:cubicBezTo>
                    <a:pt x="319" y="610"/>
                    <a:pt x="319" y="610"/>
                    <a:pt x="319" y="610"/>
                  </a:cubicBezTo>
                  <a:cubicBezTo>
                    <a:pt x="294" y="548"/>
                    <a:pt x="294" y="548"/>
                    <a:pt x="294" y="548"/>
                  </a:cubicBezTo>
                  <a:cubicBezTo>
                    <a:pt x="315" y="545"/>
                    <a:pt x="315" y="545"/>
                    <a:pt x="315" y="545"/>
                  </a:cubicBezTo>
                  <a:cubicBezTo>
                    <a:pt x="374" y="537"/>
                    <a:pt x="418" y="521"/>
                    <a:pt x="448" y="495"/>
                  </a:cubicBezTo>
                  <a:cubicBezTo>
                    <a:pt x="478" y="469"/>
                    <a:pt x="493" y="437"/>
                    <a:pt x="493" y="396"/>
                  </a:cubicBezTo>
                  <a:cubicBezTo>
                    <a:pt x="493" y="356"/>
                    <a:pt x="476" y="325"/>
                    <a:pt x="442" y="303"/>
                  </a:cubicBezTo>
                  <a:cubicBezTo>
                    <a:pt x="430" y="295"/>
                    <a:pt x="419" y="289"/>
                    <a:pt x="406" y="285"/>
                  </a:cubicBezTo>
                  <a:cubicBezTo>
                    <a:pt x="386" y="343"/>
                    <a:pt x="363" y="394"/>
                    <a:pt x="335" y="438"/>
                  </a:cubicBezTo>
                  <a:cubicBezTo>
                    <a:pt x="275" y="532"/>
                    <a:pt x="201" y="580"/>
                    <a:pt x="114" y="580"/>
                  </a:cubicBezTo>
                  <a:cubicBezTo>
                    <a:pt x="78" y="580"/>
                    <a:pt x="49" y="568"/>
                    <a:pt x="29" y="546"/>
                  </a:cubicBezTo>
                  <a:cubicBezTo>
                    <a:pt x="9" y="525"/>
                    <a:pt x="0" y="494"/>
                    <a:pt x="0" y="457"/>
                  </a:cubicBezTo>
                  <a:cubicBezTo>
                    <a:pt x="0" y="390"/>
                    <a:pt x="31" y="333"/>
                    <a:pt x="93" y="284"/>
                  </a:cubicBezTo>
                  <a:cubicBezTo>
                    <a:pt x="118" y="264"/>
                    <a:pt x="145" y="248"/>
                    <a:pt x="175" y="236"/>
                  </a:cubicBezTo>
                  <a:cubicBezTo>
                    <a:pt x="175" y="208"/>
                    <a:pt x="177" y="180"/>
                    <a:pt x="179" y="154"/>
                  </a:cubicBezTo>
                  <a:cubicBezTo>
                    <a:pt x="164" y="154"/>
                    <a:pt x="147" y="154"/>
                    <a:pt x="115" y="155"/>
                  </a:cubicBezTo>
                  <a:cubicBezTo>
                    <a:pt x="74" y="155"/>
                    <a:pt x="52" y="155"/>
                    <a:pt x="27" y="155"/>
                  </a:cubicBezTo>
                  <a:cubicBezTo>
                    <a:pt x="10" y="155"/>
                    <a:pt x="10" y="155"/>
                    <a:pt x="10" y="155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53" y="89"/>
                    <a:pt x="75" y="89"/>
                    <a:pt x="117" y="89"/>
                  </a:cubicBezTo>
                  <a:cubicBezTo>
                    <a:pt x="152" y="88"/>
                    <a:pt x="170" y="88"/>
                    <a:pt x="186" y="88"/>
                  </a:cubicBezTo>
                  <a:cubicBezTo>
                    <a:pt x="189" y="66"/>
                    <a:pt x="193" y="43"/>
                    <a:pt x="198" y="17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68" y="16"/>
                    <a:pt x="268" y="16"/>
                    <a:pt x="268" y="16"/>
                  </a:cubicBezTo>
                  <a:cubicBezTo>
                    <a:pt x="265" y="31"/>
                    <a:pt x="265" y="31"/>
                    <a:pt x="265" y="31"/>
                  </a:cubicBezTo>
                  <a:cubicBezTo>
                    <a:pt x="261" y="50"/>
                    <a:pt x="258" y="68"/>
                    <a:pt x="255" y="87"/>
                  </a:cubicBezTo>
                  <a:cubicBezTo>
                    <a:pt x="366" y="85"/>
                    <a:pt x="457" y="82"/>
                    <a:pt x="527" y="78"/>
                  </a:cubicBezTo>
                  <a:moveTo>
                    <a:pt x="332" y="273"/>
                  </a:moveTo>
                  <a:cubicBezTo>
                    <a:pt x="299" y="273"/>
                    <a:pt x="269" y="276"/>
                    <a:pt x="242" y="283"/>
                  </a:cubicBezTo>
                  <a:cubicBezTo>
                    <a:pt x="242" y="285"/>
                    <a:pt x="242" y="285"/>
                    <a:pt x="242" y="285"/>
                  </a:cubicBezTo>
                  <a:cubicBezTo>
                    <a:pt x="242" y="342"/>
                    <a:pt x="245" y="393"/>
                    <a:pt x="252" y="438"/>
                  </a:cubicBezTo>
                  <a:cubicBezTo>
                    <a:pt x="260" y="428"/>
                    <a:pt x="269" y="416"/>
                    <a:pt x="277" y="403"/>
                  </a:cubicBezTo>
                  <a:cubicBezTo>
                    <a:pt x="302" y="365"/>
                    <a:pt x="322" y="321"/>
                    <a:pt x="339" y="273"/>
                  </a:cubicBezTo>
                  <a:cubicBezTo>
                    <a:pt x="337" y="273"/>
                    <a:pt x="335" y="273"/>
                    <a:pt x="332" y="273"/>
                  </a:cubicBezTo>
                  <a:moveTo>
                    <a:pt x="137" y="335"/>
                  </a:moveTo>
                  <a:cubicBezTo>
                    <a:pt x="91" y="372"/>
                    <a:pt x="68" y="413"/>
                    <a:pt x="68" y="457"/>
                  </a:cubicBezTo>
                  <a:cubicBezTo>
                    <a:pt x="68" y="498"/>
                    <a:pt x="82" y="514"/>
                    <a:pt x="114" y="514"/>
                  </a:cubicBezTo>
                  <a:cubicBezTo>
                    <a:pt x="140" y="514"/>
                    <a:pt x="166" y="507"/>
                    <a:pt x="192" y="493"/>
                  </a:cubicBezTo>
                  <a:cubicBezTo>
                    <a:pt x="181" y="440"/>
                    <a:pt x="175" y="379"/>
                    <a:pt x="174" y="311"/>
                  </a:cubicBezTo>
                  <a:cubicBezTo>
                    <a:pt x="161" y="318"/>
                    <a:pt x="149" y="326"/>
                    <a:pt x="137" y="33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A8CCA12F-40C4-4C41-9FCF-3AD07201DDD4}"/>
              </a:ext>
            </a:extLst>
          </p:cNvPr>
          <p:cNvSpPr txBox="1"/>
          <p:nvPr/>
        </p:nvSpPr>
        <p:spPr>
          <a:xfrm>
            <a:off x="5602166" y="2485330"/>
            <a:ext cx="1436525" cy="338552"/>
          </a:xfrm>
          <a:prstGeom prst="rect">
            <a:avLst/>
          </a:prstGeom>
          <a:noFill/>
        </p:spPr>
        <p:txBody>
          <a:bodyPr wrap="square" lIns="91438" tIns="45719" rIns="91438" bIns="45719" rtlCol="0" anchor="ctr">
            <a:spAutoFit/>
          </a:bodyPr>
          <a:lstStyle>
            <a:defPPr>
              <a:defRPr lang="en-US"/>
            </a:defPPr>
            <a:lvl1pPr algn="ctr" defTabSz="913841">
              <a:defRPr sz="1600" b="1">
                <a:cs typeface="Segoe UI Semibold" panose="020B0702040204020203" pitchFamily="34" charset="0"/>
              </a:defRPr>
            </a:lvl1pPr>
          </a:lstStyle>
          <a:p>
            <a:pPr defTabSz="913829">
              <a:defRPr/>
            </a:pPr>
            <a:r>
              <a:rPr lang="en-US" b="0">
                <a:solidFill>
                  <a:srgbClr val="E3008C"/>
                </a:solidFill>
                <a:latin typeface="Segoe UI Semibold"/>
              </a:rPr>
              <a:t>Azure Search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EA61D65-A118-46FC-81DF-514A35F283D4}"/>
              </a:ext>
            </a:extLst>
          </p:cNvPr>
          <p:cNvSpPr/>
          <p:nvPr/>
        </p:nvSpPr>
        <p:spPr>
          <a:xfrm>
            <a:off x="5204823" y="2885325"/>
            <a:ext cx="22974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52">
              <a:defRPr/>
            </a:pPr>
            <a:r>
              <a:rPr lang="en-US" sz="1400">
                <a:solidFill>
                  <a:srgbClr val="1A1A1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e search into a conversational experienc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C6E514-2194-407C-9A97-9799C1106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348" y="457246"/>
            <a:ext cx="11018351" cy="553990"/>
          </a:xfrm>
        </p:spPr>
        <p:txBody>
          <a:bodyPr>
            <a:normAutofit fontScale="90000"/>
          </a:bodyPr>
          <a:lstStyle/>
          <a:p>
            <a:r>
              <a:rPr lang="en-IN"/>
              <a:t>Adding Intelligenc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A0A4273-F06A-467F-9511-1D5BEA5CC3E6}"/>
              </a:ext>
            </a:extLst>
          </p:cNvPr>
          <p:cNvGrpSpPr/>
          <p:nvPr/>
        </p:nvGrpSpPr>
        <p:grpSpPr>
          <a:xfrm>
            <a:off x="2793021" y="1429107"/>
            <a:ext cx="859029" cy="859019"/>
            <a:chOff x="588263" y="2854319"/>
            <a:chExt cx="3414754" cy="3414719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7F7F8279-F2FA-46D4-A56B-6FFB334AEC96}"/>
                </a:ext>
              </a:extLst>
            </p:cNvPr>
            <p:cNvSpPr/>
            <p:nvPr/>
          </p:nvSpPr>
          <p:spPr bwMode="auto">
            <a:xfrm>
              <a:off x="588263" y="2854319"/>
              <a:ext cx="3414754" cy="3414719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4D2CEAC0-728E-4038-B164-7D3384A7937C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410134"/>
                <a:gd name="adj2" fmla="val 7440616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8" name="Arc 47">
              <a:extLst>
                <a:ext uri="{FF2B5EF4-FFF2-40B4-BE49-F238E27FC236}">
                  <a16:creationId xmlns:a16="http://schemas.microsoft.com/office/drawing/2014/main" id="{DC40DA58-5E3F-4D83-A068-61CEA97F816F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11122924"/>
                <a:gd name="adj2" fmla="val 18077009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FF27F38-8F1C-44D4-BD0F-F667ABAB467C}"/>
              </a:ext>
            </a:extLst>
          </p:cNvPr>
          <p:cNvGrpSpPr/>
          <p:nvPr/>
        </p:nvGrpSpPr>
        <p:grpSpPr>
          <a:xfrm>
            <a:off x="5887848" y="1429107"/>
            <a:ext cx="859029" cy="859019"/>
            <a:chOff x="588263" y="2854319"/>
            <a:chExt cx="3414754" cy="3414719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90F5F5DF-378E-460F-A481-B63D97B28022}"/>
                </a:ext>
              </a:extLst>
            </p:cNvPr>
            <p:cNvSpPr/>
            <p:nvPr/>
          </p:nvSpPr>
          <p:spPr bwMode="auto">
            <a:xfrm>
              <a:off x="588263" y="2854319"/>
              <a:ext cx="3414754" cy="3414719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Arc 50">
              <a:extLst>
                <a:ext uri="{FF2B5EF4-FFF2-40B4-BE49-F238E27FC236}">
                  <a16:creationId xmlns:a16="http://schemas.microsoft.com/office/drawing/2014/main" id="{BD760A49-A450-4EB4-BE2C-2518F0E5233D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410134"/>
                <a:gd name="adj2" fmla="val 7440616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Arc 51">
              <a:extLst>
                <a:ext uri="{FF2B5EF4-FFF2-40B4-BE49-F238E27FC236}">
                  <a16:creationId xmlns:a16="http://schemas.microsoft.com/office/drawing/2014/main" id="{7D641B60-89B3-42C4-90EA-DFE219879CBC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11122924"/>
                <a:gd name="adj2" fmla="val 18077009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B99AA2A1-C9C6-4D53-8086-51A4EDED6585}"/>
              </a:ext>
            </a:extLst>
          </p:cNvPr>
          <p:cNvGrpSpPr/>
          <p:nvPr/>
        </p:nvGrpSpPr>
        <p:grpSpPr>
          <a:xfrm>
            <a:off x="8818186" y="1429107"/>
            <a:ext cx="859029" cy="859019"/>
            <a:chOff x="588263" y="2854319"/>
            <a:chExt cx="3414754" cy="3414719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713055C8-6CD4-4BB2-A3D5-1DDBA01ED180}"/>
                </a:ext>
              </a:extLst>
            </p:cNvPr>
            <p:cNvSpPr/>
            <p:nvPr/>
          </p:nvSpPr>
          <p:spPr bwMode="auto">
            <a:xfrm>
              <a:off x="588263" y="2854319"/>
              <a:ext cx="3414754" cy="3414719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7" name="Arc 66">
              <a:extLst>
                <a:ext uri="{FF2B5EF4-FFF2-40B4-BE49-F238E27FC236}">
                  <a16:creationId xmlns:a16="http://schemas.microsoft.com/office/drawing/2014/main" id="{F2892D45-85A7-4BFA-B4AD-D7A8D54365EE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410134"/>
                <a:gd name="adj2" fmla="val 7440616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Arc 67">
              <a:extLst>
                <a:ext uri="{FF2B5EF4-FFF2-40B4-BE49-F238E27FC236}">
                  <a16:creationId xmlns:a16="http://schemas.microsoft.com/office/drawing/2014/main" id="{740375AA-2611-4970-86CA-85F78E35F25D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11122924"/>
                <a:gd name="adj2" fmla="val 18077009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CC05F4A-6B56-45B8-8148-BD9F8B7184BD}"/>
              </a:ext>
            </a:extLst>
          </p:cNvPr>
          <p:cNvGrpSpPr/>
          <p:nvPr/>
        </p:nvGrpSpPr>
        <p:grpSpPr>
          <a:xfrm>
            <a:off x="1593815" y="4079668"/>
            <a:ext cx="859029" cy="859019"/>
            <a:chOff x="588263" y="2854319"/>
            <a:chExt cx="3414754" cy="3414719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DBE83C0A-2DEE-4382-A573-F78E0C962529}"/>
                </a:ext>
              </a:extLst>
            </p:cNvPr>
            <p:cNvSpPr/>
            <p:nvPr/>
          </p:nvSpPr>
          <p:spPr bwMode="auto">
            <a:xfrm>
              <a:off x="588263" y="2854319"/>
              <a:ext cx="3414754" cy="3414719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DAC077B9-D216-45C4-852A-AAD2AAF0B6BB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410134"/>
                <a:gd name="adj2" fmla="val 7440616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2" name="Arc 71">
              <a:extLst>
                <a:ext uri="{FF2B5EF4-FFF2-40B4-BE49-F238E27FC236}">
                  <a16:creationId xmlns:a16="http://schemas.microsoft.com/office/drawing/2014/main" id="{B3068BB2-5BCD-4D2A-9E62-8696B6CC501D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11122924"/>
                <a:gd name="adj2" fmla="val 18077009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6E3DD38-4D6C-4399-BEB2-D744C5DDBF34}"/>
              </a:ext>
            </a:extLst>
          </p:cNvPr>
          <p:cNvGrpSpPr/>
          <p:nvPr/>
        </p:nvGrpSpPr>
        <p:grpSpPr>
          <a:xfrm>
            <a:off x="7161999" y="4079668"/>
            <a:ext cx="859029" cy="859019"/>
            <a:chOff x="588263" y="2854319"/>
            <a:chExt cx="3414754" cy="3414719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666FFE26-E8B5-47A1-B550-001E7F1AC940}"/>
                </a:ext>
              </a:extLst>
            </p:cNvPr>
            <p:cNvSpPr/>
            <p:nvPr/>
          </p:nvSpPr>
          <p:spPr bwMode="auto">
            <a:xfrm>
              <a:off x="588263" y="2854319"/>
              <a:ext cx="3414754" cy="3414719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Arc 74">
              <a:extLst>
                <a:ext uri="{FF2B5EF4-FFF2-40B4-BE49-F238E27FC236}">
                  <a16:creationId xmlns:a16="http://schemas.microsoft.com/office/drawing/2014/main" id="{5EDFBAA7-395E-48A1-B1AE-3D12EA0D2DDE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410134"/>
                <a:gd name="adj2" fmla="val 7440616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Arc 75">
              <a:extLst>
                <a:ext uri="{FF2B5EF4-FFF2-40B4-BE49-F238E27FC236}">
                  <a16:creationId xmlns:a16="http://schemas.microsoft.com/office/drawing/2014/main" id="{874B8F87-3F8C-44EB-BA62-0FD3825B8FB6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11122924"/>
                <a:gd name="adj2" fmla="val 18077009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68E64A7-0DB8-469E-AB1B-67856D93DDCB}"/>
              </a:ext>
            </a:extLst>
          </p:cNvPr>
          <p:cNvGrpSpPr/>
          <p:nvPr/>
        </p:nvGrpSpPr>
        <p:grpSpPr>
          <a:xfrm>
            <a:off x="9946088" y="4079668"/>
            <a:ext cx="859029" cy="859019"/>
            <a:chOff x="588263" y="2854319"/>
            <a:chExt cx="3414754" cy="3414719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BD072D18-FC7A-484C-BD20-D11865FD18E9}"/>
                </a:ext>
              </a:extLst>
            </p:cNvPr>
            <p:cNvSpPr/>
            <p:nvPr/>
          </p:nvSpPr>
          <p:spPr bwMode="auto">
            <a:xfrm>
              <a:off x="588263" y="2854319"/>
              <a:ext cx="3414754" cy="3414719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Arc 78">
              <a:extLst>
                <a:ext uri="{FF2B5EF4-FFF2-40B4-BE49-F238E27FC236}">
                  <a16:creationId xmlns:a16="http://schemas.microsoft.com/office/drawing/2014/main" id="{C13E8D47-5B7C-4FC0-A6F2-30A8AB2C6E96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410134"/>
                <a:gd name="adj2" fmla="val 7440616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Arc 79">
              <a:extLst>
                <a:ext uri="{FF2B5EF4-FFF2-40B4-BE49-F238E27FC236}">
                  <a16:creationId xmlns:a16="http://schemas.microsoft.com/office/drawing/2014/main" id="{107985CA-E6AA-41FE-A194-BDDE34791DF0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11122924"/>
                <a:gd name="adj2" fmla="val 18077009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B47529F-C9BE-4D4E-B96B-D4F98F24A492}"/>
              </a:ext>
            </a:extLst>
          </p:cNvPr>
          <p:cNvGrpSpPr/>
          <p:nvPr/>
        </p:nvGrpSpPr>
        <p:grpSpPr>
          <a:xfrm>
            <a:off x="4377907" y="4079668"/>
            <a:ext cx="859029" cy="859019"/>
            <a:chOff x="588263" y="2854319"/>
            <a:chExt cx="3414754" cy="3414719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1ADCB683-AD64-4EC5-8016-900F844BF5F5}"/>
                </a:ext>
              </a:extLst>
            </p:cNvPr>
            <p:cNvSpPr/>
            <p:nvPr/>
          </p:nvSpPr>
          <p:spPr bwMode="auto">
            <a:xfrm>
              <a:off x="588263" y="2854319"/>
              <a:ext cx="3414754" cy="3414719"/>
            </a:xfrm>
            <a:prstGeom prst="ellipse">
              <a:avLst/>
            </a:prstGeom>
            <a:noFill/>
            <a:ln w="3175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Arc 82">
              <a:extLst>
                <a:ext uri="{FF2B5EF4-FFF2-40B4-BE49-F238E27FC236}">
                  <a16:creationId xmlns:a16="http://schemas.microsoft.com/office/drawing/2014/main" id="{460A1CCE-3AEC-4245-AB17-4347F223FB93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410134"/>
                <a:gd name="adj2" fmla="val 7440616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Arc 83">
              <a:extLst>
                <a:ext uri="{FF2B5EF4-FFF2-40B4-BE49-F238E27FC236}">
                  <a16:creationId xmlns:a16="http://schemas.microsoft.com/office/drawing/2014/main" id="{ED4ABD15-DB3C-4A37-B113-825FF8809B1B}"/>
                </a:ext>
              </a:extLst>
            </p:cNvPr>
            <p:cNvSpPr/>
            <p:nvPr/>
          </p:nvSpPr>
          <p:spPr bwMode="auto">
            <a:xfrm>
              <a:off x="801919" y="3067995"/>
              <a:ext cx="2987422" cy="2987362"/>
            </a:xfrm>
            <a:prstGeom prst="arc">
              <a:avLst>
                <a:gd name="adj1" fmla="val 11122924"/>
                <a:gd name="adj2" fmla="val 18077009"/>
              </a:avLst>
            </a:prstGeom>
            <a:noFill/>
            <a:ln w="63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IN" sz="22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3076" name="Picture 4" descr="Image result for azure search icon">
            <a:extLst>
              <a:ext uri="{FF2B5EF4-FFF2-40B4-BE49-F238E27FC236}">
                <a16:creationId xmlns:a16="http://schemas.microsoft.com/office/drawing/2014/main" id="{0F3BDFA0-DA69-411E-815F-299B5D7B39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4751" y="1576006"/>
            <a:ext cx="565221" cy="565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5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01BC6-6FC2-4FA3-99FD-79A6003F3989}"/>
              </a:ext>
            </a:extLst>
          </p:cNvPr>
          <p:cNvSpPr>
            <a:spLocks noGrp="1"/>
          </p:cNvSpPr>
          <p:nvPr>
            <p:ph type="body" idx="7"/>
          </p:nvPr>
        </p:nvSpPr>
        <p:spPr/>
        <p:txBody>
          <a:bodyPr/>
          <a:lstStyle/>
          <a:p>
            <a:r>
              <a:rPr lang="en-US"/>
              <a:t>What is Conversational AI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31156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04EC1-67D1-41D6-B63B-313D546D3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82" y="190353"/>
            <a:ext cx="11429516" cy="761968"/>
          </a:xfrm>
        </p:spPr>
        <p:txBody>
          <a:bodyPr>
            <a:normAutofit fontScale="90000"/>
          </a:bodyPr>
          <a:lstStyle/>
          <a:p>
            <a:r>
              <a:rPr lang="en-US" sz="4000"/>
              <a:t>Example</a:t>
            </a:r>
            <a:r>
              <a:rPr lang="en-US"/>
              <a:t> of Bot Framework implementation</a:t>
            </a:r>
          </a:p>
        </p:txBody>
      </p:sp>
      <p:pic>
        <p:nvPicPr>
          <p:cNvPr id="3074" name="Picture 2" descr="Diagramma Assistente virtuale">
            <a:extLst>
              <a:ext uri="{FF2B5EF4-FFF2-40B4-BE49-F238E27FC236}">
                <a16:creationId xmlns:a16="http://schemas.microsoft.com/office/drawing/2014/main" id="{DC88132E-F1A2-4FBA-917E-591C1787FA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" b="15330"/>
          <a:stretch/>
        </p:blipFill>
        <p:spPr bwMode="auto">
          <a:xfrm>
            <a:off x="0" y="948356"/>
            <a:ext cx="11912375" cy="5319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9907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DEMO</a:t>
            </a:r>
            <a:br>
              <a:rPr lang="en-US"/>
            </a:br>
            <a:r>
              <a:rPr lang="en-US"/>
              <a:t>Sarah</a:t>
            </a:r>
          </a:p>
        </p:txBody>
      </p:sp>
    </p:spTree>
    <p:extLst>
      <p:ext uri="{BB962C8B-B14F-4D97-AF65-F5344CB8AC3E}">
        <p14:creationId xmlns:p14="http://schemas.microsoft.com/office/powerpoint/2010/main" val="1207863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07315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5022D7F-653A-494F-A715-E08A3E56C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597647"/>
            <a:ext cx="11277600" cy="1402854"/>
          </a:xfrm>
        </p:spPr>
        <p:txBody>
          <a:bodyPr/>
          <a:lstStyle/>
          <a:p>
            <a:pPr algn="ctr"/>
            <a:r>
              <a:rPr lang="it-IT" sz="5400"/>
              <a:t>GRAZIE!</a:t>
            </a:r>
            <a:endParaRPr lang="en-US" sz="5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A553D1E-D171-474C-ADAF-53615532ADF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199" y="5372664"/>
            <a:ext cx="5638801" cy="422162"/>
          </a:xfrm>
        </p:spPr>
        <p:txBody>
          <a:bodyPr/>
          <a:lstStyle/>
          <a:p>
            <a:r>
              <a:rPr lang="en-US"/>
              <a:t>Riccardo Cappello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B92901A-2CD4-4C73-AA91-5691EDFBC4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200" y="5854318"/>
            <a:ext cx="5638800" cy="486933"/>
          </a:xfrm>
        </p:spPr>
        <p:txBody>
          <a:bodyPr anchor="t"/>
          <a:lstStyle/>
          <a:p>
            <a:pPr>
              <a:lnSpc>
                <a:spcPct val="50000"/>
              </a:lnSpc>
            </a:pPr>
            <a:r>
              <a:rPr lang="en-US">
                <a:solidFill>
                  <a:schemeClr val="accent4"/>
                </a:solidFill>
              </a:rPr>
              <a:t>Senior ICS Consultant @ Insight</a:t>
            </a:r>
          </a:p>
          <a:p>
            <a:pPr>
              <a:lnSpc>
                <a:spcPct val="50000"/>
              </a:lnSpc>
            </a:pPr>
            <a:r>
              <a:rPr lang="en-US">
                <a:solidFill>
                  <a:schemeClr val="accent4"/>
                </a:solidFill>
              </a:rPr>
              <a:t>Microsoft Azure MVP</a:t>
            </a:r>
          </a:p>
          <a:p>
            <a:pPr>
              <a:lnSpc>
                <a:spcPct val="50000"/>
              </a:lnSpc>
            </a:pPr>
            <a:r>
              <a:rPr lang="en-US">
                <a:solidFill>
                  <a:schemeClr val="accent4"/>
                </a:solidFill>
              </a:rPr>
              <a:t>Intel Software Innovato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FB5715-C6B8-413B-BE19-23DA90B4832F}"/>
              </a:ext>
            </a:extLst>
          </p:cNvPr>
          <p:cNvSpPr txBox="1">
            <a:spLocks/>
          </p:cNvSpPr>
          <p:nvPr/>
        </p:nvSpPr>
        <p:spPr>
          <a:xfrm>
            <a:off x="6096000" y="5368269"/>
            <a:ext cx="5638801" cy="422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132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SzPct val="120000"/>
              <a:buFontTx/>
              <a:buNone/>
              <a:defRPr lang="en-US" sz="2000" b="1" i="0" kern="1200">
                <a:solidFill>
                  <a:schemeClr val="accent2"/>
                </a:solidFill>
                <a:effectLst/>
                <a:latin typeface="+mn-lt"/>
                <a:ea typeface="Segoe UI Semibold" charset="0"/>
                <a:cs typeface="Segoe UI Semibold" charset="0"/>
              </a:defRPr>
            </a:lvl1pPr>
            <a:lvl2pPr marL="0" indent="0" algn="l" defTabSz="9141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charset="0"/>
              <a:buNone/>
              <a:defRPr lang="en-US" sz="2000" b="0" i="0" kern="1200" dirty="0" smtClean="0">
                <a:solidFill>
                  <a:schemeClr val="tx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2pPr>
            <a:lvl3pPr marL="288925" indent="-222250" algn="l" defTabSz="9141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charset="0"/>
              <a:buChar char="•"/>
              <a:defRPr lang="en-US" sz="1800" b="0" i="0" kern="1200" dirty="0" smtClean="0">
                <a:solidFill>
                  <a:schemeClr val="tx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3pPr>
            <a:lvl4pPr marL="631825" indent="-182880" algn="l" defTabSz="9141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charset="0"/>
              <a:buChar char="•"/>
              <a:tabLst/>
              <a:defRPr lang="en-US" sz="1600" b="0" i="0" kern="1200" dirty="0" smtClean="0">
                <a:solidFill>
                  <a:schemeClr val="tx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4pPr>
            <a:lvl5pPr marL="1254125" indent="-194310" algn="l" defTabSz="914132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/>
              <a:buChar char="•"/>
              <a:defRPr lang="en-US" sz="1400" b="0" i="0" kern="1200" dirty="0">
                <a:solidFill>
                  <a:schemeClr val="tx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5pPr>
            <a:lvl6pPr marL="1965221" indent="-228533" algn="l" defTabSz="914132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6pPr>
            <a:lvl7pPr marL="2970926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92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57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/>
              <a:t>Marco Parenzan</a:t>
            </a:r>
          </a:p>
        </p:txBody>
      </p:sp>
      <p:pic>
        <p:nvPicPr>
          <p:cNvPr id="11" name="Picture 2" descr="https://software.intel.com/sites/default/files/managed/9f/d5/Intel%C2%AE%20Software%20Innovator%20Program%20%20%20Overview%20%20%20Intel%C2%AE%20Developer%20Zone.png">
            <a:extLst>
              <a:ext uri="{FF2B5EF4-FFF2-40B4-BE49-F238E27FC236}">
                <a16:creationId xmlns:a16="http://schemas.microsoft.com/office/drawing/2014/main" id="{57DAC40C-9DAD-4CD2-91AF-CFC45022B1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1029" y="4772867"/>
            <a:ext cx="1102895" cy="1336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magine 3">
            <a:extLst>
              <a:ext uri="{FF2B5EF4-FFF2-40B4-BE49-F238E27FC236}">
                <a16:creationId xmlns:a16="http://schemas.microsoft.com/office/drawing/2014/main" id="{BF548205-16DC-48F5-914D-66175EB482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4891595"/>
            <a:ext cx="785828" cy="123794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17E0F127-B67E-40B2-AF9E-8FC6092214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97082" y="6248270"/>
            <a:ext cx="1797836" cy="547167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BF72E43-7C1A-43AC-ABB0-11866B1D402F}"/>
              </a:ext>
            </a:extLst>
          </p:cNvPr>
          <p:cNvSpPr txBox="1">
            <a:spLocks/>
          </p:cNvSpPr>
          <p:nvPr/>
        </p:nvSpPr>
        <p:spPr>
          <a:xfrm>
            <a:off x="6096000" y="5854118"/>
            <a:ext cx="5638800" cy="4869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132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SzPct val="120000"/>
              <a:buFontTx/>
              <a:buNone/>
              <a:defRPr lang="en-US" sz="2000" b="0" i="0" kern="1200">
                <a:solidFill>
                  <a:schemeClr val="tx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1pPr>
            <a:lvl2pPr marL="0" indent="0" algn="l" defTabSz="9141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charset="0"/>
              <a:buNone/>
              <a:defRPr lang="en-US" sz="2000" b="0" i="0" kern="1200" dirty="0" smtClean="0">
                <a:solidFill>
                  <a:schemeClr val="tx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2pPr>
            <a:lvl3pPr marL="288925" indent="-222250" algn="l" defTabSz="9141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charset="0"/>
              <a:buChar char="•"/>
              <a:defRPr lang="en-US" sz="1800" b="0" i="0" kern="1200" dirty="0" smtClean="0">
                <a:solidFill>
                  <a:schemeClr val="tx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3pPr>
            <a:lvl4pPr marL="631825" indent="-182880" algn="l" defTabSz="9141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charset="0"/>
              <a:buChar char="•"/>
              <a:tabLst/>
              <a:defRPr lang="en-US" sz="1600" b="0" i="0" kern="1200" dirty="0" smtClean="0">
                <a:solidFill>
                  <a:schemeClr val="tx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4pPr>
            <a:lvl5pPr marL="1254125" indent="-194310" algn="l" defTabSz="914132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/>
              <a:buChar char="•"/>
              <a:defRPr lang="en-US" sz="1400" b="0" i="0" kern="1200" dirty="0">
                <a:solidFill>
                  <a:schemeClr val="tx1"/>
                </a:solidFill>
                <a:effectLst/>
                <a:latin typeface="Segoe UI" charset="0"/>
                <a:ea typeface="Segoe UI" charset="0"/>
                <a:cs typeface="Segoe UI" charset="0"/>
              </a:defRPr>
            </a:lvl5pPr>
            <a:lvl6pPr marL="1965221" indent="-228533" algn="l" defTabSz="914132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6pPr>
            <a:lvl7pPr marL="2970926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92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57" indent="-228533" algn="l" defTabSz="9141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50000"/>
              </a:lnSpc>
            </a:pPr>
            <a:r>
              <a:rPr lang="en-US">
                <a:solidFill>
                  <a:schemeClr val="accent4"/>
                </a:solidFill>
              </a:rPr>
              <a:t>Senior Sales Specialist @ Insight</a:t>
            </a:r>
          </a:p>
          <a:p>
            <a:pPr algn="r">
              <a:lnSpc>
                <a:spcPct val="50000"/>
              </a:lnSpc>
            </a:pPr>
            <a:r>
              <a:rPr lang="en-US">
                <a:solidFill>
                  <a:schemeClr val="accent4"/>
                </a:solidFill>
              </a:rPr>
              <a:t>Microsoft Azure MVP</a:t>
            </a:r>
          </a:p>
          <a:p>
            <a:pPr algn="r">
              <a:lnSpc>
                <a:spcPct val="50000"/>
              </a:lnSpc>
            </a:pPr>
            <a:r>
              <a:rPr lang="en-US">
                <a:solidFill>
                  <a:schemeClr val="accent4"/>
                </a:solidFill>
              </a:rPr>
              <a:t> </a:t>
            </a:r>
          </a:p>
        </p:txBody>
      </p:sp>
      <p:pic>
        <p:nvPicPr>
          <p:cNvPr id="17" name="Picture 16" descr="A drawing of a face&#10;&#10;Description automatically generated">
            <a:extLst>
              <a:ext uri="{FF2B5EF4-FFF2-40B4-BE49-F238E27FC236}">
                <a16:creationId xmlns:a16="http://schemas.microsoft.com/office/drawing/2014/main" id="{7E0D60A3-F1A5-4328-A668-565A4781E2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381" y="6262082"/>
            <a:ext cx="1367216" cy="519542"/>
          </a:xfrm>
          <a:prstGeom prst="rect">
            <a:avLst/>
          </a:prstGeom>
        </p:spPr>
      </p:pic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442E749B-F948-435B-97E5-34136FEC1E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169" y="6183891"/>
            <a:ext cx="1505544" cy="611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4052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2071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AA56AB6-5D5D-4835-B01E-7F75D520A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versational AI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76FE98-40A2-40BB-A09C-6ECB3998F5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sz="3387" i="1"/>
              <a:t>“Conversational AI refers to the use of messaging apps, speech-based assistants and chatbots to automate communication and create personalized customer experiences at scale”</a:t>
            </a:r>
          </a:p>
          <a:p>
            <a:endParaRPr lang="en-US" sz="3387"/>
          </a:p>
          <a:p>
            <a:r>
              <a:rPr lang="en-US" sz="3387"/>
              <a:t>“</a:t>
            </a:r>
            <a:r>
              <a:rPr lang="en-US" sz="3387" i="1"/>
              <a:t>A chatbot is a computer software program designed to simulate human conversation via text, audio messages, or images</a:t>
            </a:r>
            <a:r>
              <a:rPr lang="en-US" sz="3387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38053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Rectangle 175">
            <a:extLst>
              <a:ext uri="{FF2B5EF4-FFF2-40B4-BE49-F238E27FC236}">
                <a16:creationId xmlns:a16="http://schemas.microsoft.com/office/drawing/2014/main" id="{813CBB39-1601-45D7-8753-B0FDE9723077}"/>
              </a:ext>
            </a:extLst>
          </p:cNvPr>
          <p:cNvSpPr/>
          <p:nvPr/>
        </p:nvSpPr>
        <p:spPr bwMode="auto">
          <a:xfrm>
            <a:off x="10211622" y="2984415"/>
            <a:ext cx="1337147" cy="335771"/>
          </a:xfrm>
          <a:prstGeom prst="rect">
            <a:avLst/>
          </a:prstGeom>
          <a:solidFill>
            <a:schemeClr val="tx1">
              <a:lumMod val="7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51049005-9633-4D22-826B-41036AF891A5}"/>
              </a:ext>
            </a:extLst>
          </p:cNvPr>
          <p:cNvSpPr/>
          <p:nvPr/>
        </p:nvSpPr>
        <p:spPr bwMode="auto">
          <a:xfrm>
            <a:off x="10212278" y="2560669"/>
            <a:ext cx="1337147" cy="335771"/>
          </a:xfrm>
          <a:prstGeom prst="rect">
            <a:avLst/>
          </a:prstGeom>
          <a:solidFill>
            <a:schemeClr val="tx1">
              <a:lumMod val="7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7BD1D652-6FAB-4993-9C7D-02D774BF838F}"/>
              </a:ext>
            </a:extLst>
          </p:cNvPr>
          <p:cNvSpPr/>
          <p:nvPr/>
        </p:nvSpPr>
        <p:spPr bwMode="auto">
          <a:xfrm>
            <a:off x="10921937" y="4222998"/>
            <a:ext cx="627488" cy="627488"/>
          </a:xfrm>
          <a:prstGeom prst="rect">
            <a:avLst/>
          </a:prstGeom>
          <a:solidFill>
            <a:schemeClr val="tx1">
              <a:lumMod val="7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832C4CB-CF3C-4366-ACA3-D5ABF83853FD}"/>
              </a:ext>
            </a:extLst>
          </p:cNvPr>
          <p:cNvSpPr/>
          <p:nvPr/>
        </p:nvSpPr>
        <p:spPr bwMode="auto">
          <a:xfrm>
            <a:off x="10212277" y="4222998"/>
            <a:ext cx="627488" cy="627488"/>
          </a:xfrm>
          <a:prstGeom prst="rect">
            <a:avLst/>
          </a:prstGeom>
          <a:solidFill>
            <a:schemeClr val="tx1">
              <a:lumMod val="7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81C7203-2E62-41FA-9034-C12E8D6C64F1}"/>
              </a:ext>
            </a:extLst>
          </p:cNvPr>
          <p:cNvSpPr/>
          <p:nvPr/>
        </p:nvSpPr>
        <p:spPr bwMode="auto">
          <a:xfrm>
            <a:off x="493432" y="1728823"/>
            <a:ext cx="1568719" cy="3643226"/>
          </a:xfrm>
          <a:prstGeom prst="rect">
            <a:avLst/>
          </a:prstGeom>
          <a:noFill/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speech_2">
            <a:extLst>
              <a:ext uri="{FF2B5EF4-FFF2-40B4-BE49-F238E27FC236}">
                <a16:creationId xmlns:a16="http://schemas.microsoft.com/office/drawing/2014/main" id="{B0930224-CD0A-4FF8-9490-B092A006CAA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4402" y="2233785"/>
            <a:ext cx="302424" cy="295536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9050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0" tIns="44821" rIns="89640" bIns="44821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3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7" name="people_11">
            <a:extLst>
              <a:ext uri="{FF2B5EF4-FFF2-40B4-BE49-F238E27FC236}">
                <a16:creationId xmlns:a16="http://schemas.microsoft.com/office/drawing/2014/main" id="{BCAEB8DA-CD81-4ADB-9B9F-205D461549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9341" y="3218023"/>
            <a:ext cx="297485" cy="285679"/>
          </a:xfrm>
          <a:custGeom>
            <a:avLst/>
            <a:gdLst>
              <a:gd name="T0" fmla="*/ 72 w 348"/>
              <a:gd name="T1" fmla="*/ 196 h 334"/>
              <a:gd name="T2" fmla="*/ 128 w 348"/>
              <a:gd name="T3" fmla="*/ 140 h 334"/>
              <a:gd name="T4" fmla="*/ 184 w 348"/>
              <a:gd name="T5" fmla="*/ 196 h 334"/>
              <a:gd name="T6" fmla="*/ 128 w 348"/>
              <a:gd name="T7" fmla="*/ 252 h 334"/>
              <a:gd name="T8" fmla="*/ 72 w 348"/>
              <a:gd name="T9" fmla="*/ 196 h 334"/>
              <a:gd name="T10" fmla="*/ 210 w 348"/>
              <a:gd name="T11" fmla="*/ 334 h 334"/>
              <a:gd name="T12" fmla="*/ 128 w 348"/>
              <a:gd name="T13" fmla="*/ 252 h 334"/>
              <a:gd name="T14" fmla="*/ 47 w 348"/>
              <a:gd name="T15" fmla="*/ 334 h 334"/>
              <a:gd name="T16" fmla="*/ 265 w 348"/>
              <a:gd name="T17" fmla="*/ 118 h 334"/>
              <a:gd name="T18" fmla="*/ 321 w 348"/>
              <a:gd name="T19" fmla="*/ 62 h 334"/>
              <a:gd name="T20" fmla="*/ 265 w 348"/>
              <a:gd name="T21" fmla="*/ 6 h 334"/>
              <a:gd name="T22" fmla="*/ 209 w 348"/>
              <a:gd name="T23" fmla="*/ 62 h 334"/>
              <a:gd name="T24" fmla="*/ 265 w 348"/>
              <a:gd name="T25" fmla="*/ 118 h 334"/>
              <a:gd name="T26" fmla="*/ 348 w 348"/>
              <a:gd name="T27" fmla="*/ 200 h 334"/>
              <a:gd name="T28" fmla="*/ 266 w 348"/>
              <a:gd name="T29" fmla="*/ 118 h 334"/>
              <a:gd name="T30" fmla="*/ 184 w 348"/>
              <a:gd name="T31" fmla="*/ 200 h 334"/>
              <a:gd name="T32" fmla="*/ 141 w 348"/>
              <a:gd name="T33" fmla="*/ 71 h 334"/>
              <a:gd name="T34" fmla="*/ 141 w 348"/>
              <a:gd name="T35" fmla="*/ 31 h 334"/>
              <a:gd name="T36" fmla="*/ 110 w 348"/>
              <a:gd name="T37" fmla="*/ 0 h 334"/>
              <a:gd name="T38" fmla="*/ 29 w 348"/>
              <a:gd name="T39" fmla="*/ 0 h 334"/>
              <a:gd name="T40" fmla="*/ 29 w 348"/>
              <a:gd name="T41" fmla="*/ 0 h 334"/>
              <a:gd name="T42" fmla="*/ 0 w 348"/>
              <a:gd name="T43" fmla="*/ 31 h 334"/>
              <a:gd name="T44" fmla="*/ 0 w 348"/>
              <a:gd name="T45" fmla="*/ 71 h 334"/>
              <a:gd name="T46" fmla="*/ 0 w 348"/>
              <a:gd name="T47" fmla="*/ 71 h 334"/>
              <a:gd name="T48" fmla="*/ 29 w 348"/>
              <a:gd name="T49" fmla="*/ 102 h 334"/>
              <a:gd name="T50" fmla="*/ 29 w 348"/>
              <a:gd name="T51" fmla="*/ 102 h 334"/>
              <a:gd name="T52" fmla="*/ 110 w 348"/>
              <a:gd name="T53" fmla="*/ 102 h 334"/>
              <a:gd name="T54" fmla="*/ 179 w 348"/>
              <a:gd name="T55" fmla="*/ 102 h 334"/>
              <a:gd name="T56" fmla="*/ 141 w 348"/>
              <a:gd name="T57" fmla="*/ 71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48" h="334">
                <a:moveTo>
                  <a:pt x="72" y="196"/>
                </a:moveTo>
                <a:cubicBezTo>
                  <a:pt x="72" y="165"/>
                  <a:pt x="97" y="140"/>
                  <a:pt x="128" y="140"/>
                </a:cubicBezTo>
                <a:cubicBezTo>
                  <a:pt x="159" y="140"/>
                  <a:pt x="184" y="165"/>
                  <a:pt x="184" y="196"/>
                </a:cubicBezTo>
                <a:cubicBezTo>
                  <a:pt x="184" y="227"/>
                  <a:pt x="159" y="252"/>
                  <a:pt x="128" y="252"/>
                </a:cubicBezTo>
                <a:cubicBezTo>
                  <a:pt x="97" y="252"/>
                  <a:pt x="72" y="227"/>
                  <a:pt x="72" y="196"/>
                </a:cubicBezTo>
                <a:close/>
                <a:moveTo>
                  <a:pt x="210" y="334"/>
                </a:moveTo>
                <a:cubicBezTo>
                  <a:pt x="210" y="289"/>
                  <a:pt x="173" y="252"/>
                  <a:pt x="128" y="252"/>
                </a:cubicBezTo>
                <a:cubicBezTo>
                  <a:pt x="83" y="252"/>
                  <a:pt x="47" y="289"/>
                  <a:pt x="47" y="334"/>
                </a:cubicBezTo>
                <a:moveTo>
                  <a:pt x="265" y="118"/>
                </a:moveTo>
                <a:cubicBezTo>
                  <a:pt x="296" y="118"/>
                  <a:pt x="321" y="93"/>
                  <a:pt x="321" y="62"/>
                </a:cubicBezTo>
                <a:cubicBezTo>
                  <a:pt x="321" y="31"/>
                  <a:pt x="296" y="6"/>
                  <a:pt x="265" y="6"/>
                </a:cubicBezTo>
                <a:cubicBezTo>
                  <a:pt x="234" y="6"/>
                  <a:pt x="209" y="31"/>
                  <a:pt x="209" y="62"/>
                </a:cubicBezTo>
                <a:cubicBezTo>
                  <a:pt x="209" y="93"/>
                  <a:pt x="234" y="118"/>
                  <a:pt x="265" y="118"/>
                </a:cubicBezTo>
                <a:close/>
                <a:moveTo>
                  <a:pt x="348" y="200"/>
                </a:moveTo>
                <a:cubicBezTo>
                  <a:pt x="348" y="155"/>
                  <a:pt x="311" y="118"/>
                  <a:pt x="266" y="118"/>
                </a:cubicBezTo>
                <a:cubicBezTo>
                  <a:pt x="221" y="118"/>
                  <a:pt x="184" y="155"/>
                  <a:pt x="184" y="200"/>
                </a:cubicBezTo>
                <a:moveTo>
                  <a:pt x="141" y="71"/>
                </a:moveTo>
                <a:cubicBezTo>
                  <a:pt x="141" y="31"/>
                  <a:pt x="141" y="31"/>
                  <a:pt x="141" y="31"/>
                </a:cubicBezTo>
                <a:cubicBezTo>
                  <a:pt x="141" y="14"/>
                  <a:pt x="127" y="0"/>
                  <a:pt x="110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13" y="1"/>
                  <a:pt x="0" y="15"/>
                  <a:pt x="0" y="31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88"/>
                  <a:pt x="13" y="101"/>
                  <a:pt x="29" y="102"/>
                </a:cubicBezTo>
                <a:cubicBezTo>
                  <a:pt x="29" y="102"/>
                  <a:pt x="29" y="102"/>
                  <a:pt x="29" y="102"/>
                </a:cubicBezTo>
                <a:cubicBezTo>
                  <a:pt x="110" y="102"/>
                  <a:pt x="110" y="102"/>
                  <a:pt x="110" y="102"/>
                </a:cubicBezTo>
                <a:cubicBezTo>
                  <a:pt x="179" y="102"/>
                  <a:pt x="179" y="102"/>
                  <a:pt x="179" y="102"/>
                </a:cubicBezTo>
                <a:lnTo>
                  <a:pt x="141" y="71"/>
                </a:lnTo>
                <a:close/>
              </a:path>
            </a:pathLst>
          </a:custGeom>
          <a:noFill/>
          <a:ln w="19050" cap="sq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9640" tIns="44821" rIns="89640" bIns="44821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3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8" name="camera">
            <a:extLst>
              <a:ext uri="{FF2B5EF4-FFF2-40B4-BE49-F238E27FC236}">
                <a16:creationId xmlns:a16="http://schemas.microsoft.com/office/drawing/2014/main" id="{88AC7E1B-5546-4580-9895-7F4D2A04019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8755" y="4361092"/>
            <a:ext cx="298070" cy="238966"/>
          </a:xfrm>
          <a:custGeom>
            <a:avLst/>
            <a:gdLst>
              <a:gd name="T0" fmla="*/ 0 w 330"/>
              <a:gd name="T1" fmla="*/ 24 h 264"/>
              <a:gd name="T2" fmla="*/ 87 w 330"/>
              <a:gd name="T3" fmla="*/ 24 h 264"/>
              <a:gd name="T4" fmla="*/ 111 w 330"/>
              <a:gd name="T5" fmla="*/ 0 h 264"/>
              <a:gd name="T6" fmla="*/ 217 w 330"/>
              <a:gd name="T7" fmla="*/ 0 h 264"/>
              <a:gd name="T8" fmla="*/ 242 w 330"/>
              <a:gd name="T9" fmla="*/ 24 h 264"/>
              <a:gd name="T10" fmla="*/ 330 w 330"/>
              <a:gd name="T11" fmla="*/ 24 h 264"/>
              <a:gd name="T12" fmla="*/ 330 w 330"/>
              <a:gd name="T13" fmla="*/ 264 h 264"/>
              <a:gd name="T14" fmla="*/ 0 w 330"/>
              <a:gd name="T15" fmla="*/ 264 h 264"/>
              <a:gd name="T16" fmla="*/ 0 w 330"/>
              <a:gd name="T17" fmla="*/ 24 h 264"/>
              <a:gd name="T18" fmla="*/ 165 w 330"/>
              <a:gd name="T19" fmla="*/ 221 h 264"/>
              <a:gd name="T20" fmla="*/ 242 w 330"/>
              <a:gd name="T21" fmla="*/ 144 h 264"/>
              <a:gd name="T22" fmla="*/ 165 w 330"/>
              <a:gd name="T23" fmla="*/ 67 h 264"/>
              <a:gd name="T24" fmla="*/ 88 w 330"/>
              <a:gd name="T25" fmla="*/ 144 h 264"/>
              <a:gd name="T26" fmla="*/ 165 w 330"/>
              <a:gd name="T27" fmla="*/ 221 h 264"/>
              <a:gd name="T28" fmla="*/ 42 w 330"/>
              <a:gd name="T29" fmla="*/ 73 h 264"/>
              <a:gd name="T30" fmla="*/ 48 w 330"/>
              <a:gd name="T31" fmla="*/ 67 h 264"/>
              <a:gd name="T32" fmla="*/ 42 w 330"/>
              <a:gd name="T33" fmla="*/ 61 h 264"/>
              <a:gd name="T34" fmla="*/ 36 w 330"/>
              <a:gd name="T35" fmla="*/ 67 h 264"/>
              <a:gd name="T36" fmla="*/ 42 w 330"/>
              <a:gd name="T37" fmla="*/ 73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30" h="264">
                <a:moveTo>
                  <a:pt x="0" y="24"/>
                </a:moveTo>
                <a:cubicBezTo>
                  <a:pt x="87" y="24"/>
                  <a:pt x="87" y="24"/>
                  <a:pt x="87" y="24"/>
                </a:cubicBezTo>
                <a:cubicBezTo>
                  <a:pt x="111" y="0"/>
                  <a:pt x="111" y="0"/>
                  <a:pt x="111" y="0"/>
                </a:cubicBezTo>
                <a:cubicBezTo>
                  <a:pt x="217" y="0"/>
                  <a:pt x="217" y="0"/>
                  <a:pt x="217" y="0"/>
                </a:cubicBezTo>
                <a:cubicBezTo>
                  <a:pt x="242" y="24"/>
                  <a:pt x="242" y="24"/>
                  <a:pt x="242" y="24"/>
                </a:cubicBezTo>
                <a:cubicBezTo>
                  <a:pt x="330" y="24"/>
                  <a:pt x="330" y="24"/>
                  <a:pt x="330" y="24"/>
                </a:cubicBezTo>
                <a:cubicBezTo>
                  <a:pt x="330" y="264"/>
                  <a:pt x="330" y="264"/>
                  <a:pt x="330" y="264"/>
                </a:cubicBezTo>
                <a:cubicBezTo>
                  <a:pt x="0" y="264"/>
                  <a:pt x="0" y="264"/>
                  <a:pt x="0" y="264"/>
                </a:cubicBezTo>
                <a:lnTo>
                  <a:pt x="0" y="24"/>
                </a:lnTo>
                <a:close/>
                <a:moveTo>
                  <a:pt x="165" y="221"/>
                </a:moveTo>
                <a:cubicBezTo>
                  <a:pt x="208" y="221"/>
                  <a:pt x="242" y="187"/>
                  <a:pt x="242" y="144"/>
                </a:cubicBezTo>
                <a:cubicBezTo>
                  <a:pt x="242" y="101"/>
                  <a:pt x="208" y="67"/>
                  <a:pt x="165" y="67"/>
                </a:cubicBezTo>
                <a:cubicBezTo>
                  <a:pt x="123" y="67"/>
                  <a:pt x="88" y="101"/>
                  <a:pt x="88" y="144"/>
                </a:cubicBezTo>
                <a:cubicBezTo>
                  <a:pt x="88" y="187"/>
                  <a:pt x="123" y="221"/>
                  <a:pt x="165" y="221"/>
                </a:cubicBezTo>
                <a:close/>
                <a:moveTo>
                  <a:pt x="42" y="73"/>
                </a:moveTo>
                <a:cubicBezTo>
                  <a:pt x="45" y="73"/>
                  <a:pt x="48" y="70"/>
                  <a:pt x="48" y="67"/>
                </a:cubicBezTo>
                <a:cubicBezTo>
                  <a:pt x="48" y="64"/>
                  <a:pt x="45" y="61"/>
                  <a:pt x="42" y="61"/>
                </a:cubicBezTo>
                <a:cubicBezTo>
                  <a:pt x="38" y="61"/>
                  <a:pt x="36" y="64"/>
                  <a:pt x="36" y="67"/>
                </a:cubicBezTo>
                <a:cubicBezTo>
                  <a:pt x="36" y="70"/>
                  <a:pt x="38" y="73"/>
                  <a:pt x="42" y="73"/>
                </a:cubicBezTo>
                <a:close/>
              </a:path>
            </a:pathLst>
          </a:custGeom>
          <a:noFill/>
          <a:ln w="19050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0" tIns="44821" rIns="89640" bIns="44821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A989110-7756-4409-A23D-5CA0C1E50BB8}"/>
              </a:ext>
            </a:extLst>
          </p:cNvPr>
          <p:cNvSpPr txBox="1"/>
          <p:nvPr/>
        </p:nvSpPr>
        <p:spPr>
          <a:xfrm>
            <a:off x="961042" y="2499123"/>
            <a:ext cx="633498" cy="440501"/>
          </a:xfrm>
          <a:prstGeom prst="rect">
            <a:avLst/>
          </a:prstGeom>
          <a:noFill/>
        </p:spPr>
        <p:txBody>
          <a:bodyPr wrap="none" lIns="179283" tIns="143426" rIns="179283" bIns="143426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ex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FF019C-AA61-496A-94C8-F10C7375AC04}"/>
              </a:ext>
            </a:extLst>
          </p:cNvPr>
          <p:cNvSpPr txBox="1"/>
          <p:nvPr/>
        </p:nvSpPr>
        <p:spPr>
          <a:xfrm>
            <a:off x="867737" y="3453651"/>
            <a:ext cx="820106" cy="440501"/>
          </a:xfrm>
          <a:prstGeom prst="rect">
            <a:avLst/>
          </a:prstGeom>
          <a:noFill/>
        </p:spPr>
        <p:txBody>
          <a:bodyPr wrap="none" lIns="179283" tIns="143426" rIns="179283" bIns="143426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peech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D8B85D7-8182-42BE-97A6-F6E2A6114C44}"/>
              </a:ext>
            </a:extLst>
          </p:cNvPr>
          <p:cNvSpPr txBox="1"/>
          <p:nvPr/>
        </p:nvSpPr>
        <p:spPr>
          <a:xfrm>
            <a:off x="898274" y="4525508"/>
            <a:ext cx="759033" cy="440501"/>
          </a:xfrm>
          <a:prstGeom prst="rect">
            <a:avLst/>
          </a:prstGeom>
          <a:noFill/>
        </p:spPr>
        <p:txBody>
          <a:bodyPr wrap="none" lIns="179283" tIns="143426" rIns="179283" bIns="143426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mag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AC5BD6F-C433-48AF-9065-D1ECD7227895}"/>
              </a:ext>
            </a:extLst>
          </p:cNvPr>
          <p:cNvSpPr txBox="1"/>
          <p:nvPr/>
        </p:nvSpPr>
        <p:spPr>
          <a:xfrm>
            <a:off x="493432" y="1262675"/>
            <a:ext cx="1568719" cy="543236"/>
          </a:xfrm>
          <a:prstGeom prst="rect">
            <a:avLst/>
          </a:prstGeom>
          <a:noFill/>
        </p:spPr>
        <p:txBody>
          <a:bodyPr wrap="square" lIns="179283" tIns="143426" rIns="179283" bIns="143426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730">
                <a:solidFill>
                  <a:srgbClr val="E6E6E6">
                    <a:lumMod val="50000"/>
                  </a:srgb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User Inpu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70597B-DBC5-4025-B62A-E9304DEB47EE}"/>
              </a:ext>
            </a:extLst>
          </p:cNvPr>
          <p:cNvSpPr/>
          <p:nvPr/>
        </p:nvSpPr>
        <p:spPr bwMode="auto">
          <a:xfrm>
            <a:off x="2380065" y="1728823"/>
            <a:ext cx="1568719" cy="3643226"/>
          </a:xfrm>
          <a:prstGeom prst="rect">
            <a:avLst/>
          </a:prstGeom>
          <a:noFill/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026" name="Picture 2" descr="Image result for facebook messenger logo png">
            <a:extLst>
              <a:ext uri="{FF2B5EF4-FFF2-40B4-BE49-F238E27FC236}">
                <a16:creationId xmlns:a16="http://schemas.microsoft.com/office/drawing/2014/main" id="{4B7E83F6-3693-48FF-AAEC-DB8E599181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2476" y="4022620"/>
            <a:ext cx="336292" cy="339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logo skype">
            <a:extLst>
              <a:ext uri="{FF2B5EF4-FFF2-40B4-BE49-F238E27FC236}">
                <a16:creationId xmlns:a16="http://schemas.microsoft.com/office/drawing/2014/main" id="{E9C66D86-94BA-4709-BFB1-CB5A5A3468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4258" y="2514649"/>
            <a:ext cx="412726" cy="413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cortana logo png">
            <a:extLst>
              <a:ext uri="{FF2B5EF4-FFF2-40B4-BE49-F238E27FC236}">
                <a16:creationId xmlns:a16="http://schemas.microsoft.com/office/drawing/2014/main" id="{ECCA9804-E5C4-4B37-96D1-B3635338F6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881" y="1923328"/>
            <a:ext cx="423481" cy="423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3B77E114-642B-41F8-BD98-DA9BB5BD69BD}"/>
              </a:ext>
            </a:extLst>
          </p:cNvPr>
          <p:cNvSpPr/>
          <p:nvPr/>
        </p:nvSpPr>
        <p:spPr bwMode="auto">
          <a:xfrm>
            <a:off x="2885852" y="5115682"/>
            <a:ext cx="557143" cy="557143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C4C0541-6ECB-46ED-A675-72E7983D55B1}"/>
              </a:ext>
            </a:extLst>
          </p:cNvPr>
          <p:cNvSpPr/>
          <p:nvPr/>
        </p:nvSpPr>
        <p:spPr bwMode="auto">
          <a:xfrm>
            <a:off x="999220" y="5115682"/>
            <a:ext cx="557143" cy="557143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people_4">
            <a:extLst>
              <a:ext uri="{FF2B5EF4-FFF2-40B4-BE49-F238E27FC236}">
                <a16:creationId xmlns:a16="http://schemas.microsoft.com/office/drawing/2014/main" id="{972D97FB-3D30-4BB1-8EA2-B29839108E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61880" y="5264665"/>
            <a:ext cx="231823" cy="259175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9050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0" tIns="44821" rIns="89640" bIns="44821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30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B91DB33-2C19-450B-8F26-AF590F7183C8}"/>
              </a:ext>
            </a:extLst>
          </p:cNvPr>
          <p:cNvSpPr txBox="1"/>
          <p:nvPr/>
        </p:nvSpPr>
        <p:spPr>
          <a:xfrm>
            <a:off x="2373883" y="1262675"/>
            <a:ext cx="1581080" cy="543236"/>
          </a:xfrm>
          <a:prstGeom prst="rect">
            <a:avLst/>
          </a:prstGeom>
          <a:noFill/>
        </p:spPr>
        <p:txBody>
          <a:bodyPr wrap="square" lIns="179283" tIns="143426" rIns="179283" bIns="143426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730">
                <a:solidFill>
                  <a:srgbClr val="E6E6E6">
                    <a:lumMod val="50000"/>
                  </a:srgb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hannel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5A2FF3D-D4BC-4E36-A715-05F59567B694}"/>
              </a:ext>
            </a:extLst>
          </p:cNvPr>
          <p:cNvSpPr/>
          <p:nvPr/>
        </p:nvSpPr>
        <p:spPr bwMode="auto">
          <a:xfrm>
            <a:off x="9999558" y="1728823"/>
            <a:ext cx="1744143" cy="3643226"/>
          </a:xfrm>
          <a:prstGeom prst="rect">
            <a:avLst/>
          </a:prstGeom>
          <a:noFill/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89F4CA9-9037-40E3-AD3E-4022F787BD88}"/>
              </a:ext>
            </a:extLst>
          </p:cNvPr>
          <p:cNvSpPr/>
          <p:nvPr/>
        </p:nvSpPr>
        <p:spPr bwMode="auto">
          <a:xfrm>
            <a:off x="10606579" y="5115682"/>
            <a:ext cx="557143" cy="557143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338B613-D258-424B-93AF-C9B9654CA8A3}"/>
              </a:ext>
            </a:extLst>
          </p:cNvPr>
          <p:cNvSpPr txBox="1"/>
          <p:nvPr/>
        </p:nvSpPr>
        <p:spPr>
          <a:xfrm>
            <a:off x="9802875" y="1262676"/>
            <a:ext cx="2066309" cy="529271"/>
          </a:xfrm>
          <a:prstGeom prst="rect">
            <a:avLst/>
          </a:prstGeom>
          <a:noFill/>
        </p:spPr>
        <p:txBody>
          <a:bodyPr wrap="square" lIns="179283" tIns="143426" rIns="179283" bIns="143426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730">
                <a:solidFill>
                  <a:srgbClr val="E6E6E6">
                    <a:lumMod val="50000"/>
                  </a:srgb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usiness Process</a:t>
            </a:r>
          </a:p>
        </p:txBody>
      </p:sp>
      <p:sp>
        <p:nvSpPr>
          <p:cNvPr id="55" name="Trackers_EADF">
            <a:extLst>
              <a:ext uri="{FF2B5EF4-FFF2-40B4-BE49-F238E27FC236}">
                <a16:creationId xmlns:a16="http://schemas.microsoft.com/office/drawing/2014/main" id="{B4CE4CF8-E8AC-4B66-AE3C-ABE51B8A44E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774769" y="5243741"/>
            <a:ext cx="220763" cy="301022"/>
          </a:xfrm>
          <a:custGeom>
            <a:avLst/>
            <a:gdLst>
              <a:gd name="T0" fmla="*/ 1000 w 2750"/>
              <a:gd name="T1" fmla="*/ 375 h 3750"/>
              <a:gd name="T2" fmla="*/ 1375 w 2750"/>
              <a:gd name="T3" fmla="*/ 0 h 3750"/>
              <a:gd name="T4" fmla="*/ 1750 w 2750"/>
              <a:gd name="T5" fmla="*/ 375 h 3750"/>
              <a:gd name="T6" fmla="*/ 1750 w 2750"/>
              <a:gd name="T7" fmla="*/ 500 h 3750"/>
              <a:gd name="T8" fmla="*/ 2250 w 2750"/>
              <a:gd name="T9" fmla="*/ 500 h 3750"/>
              <a:gd name="T10" fmla="*/ 2250 w 2750"/>
              <a:gd name="T11" fmla="*/ 1000 h 3750"/>
              <a:gd name="T12" fmla="*/ 500 w 2750"/>
              <a:gd name="T13" fmla="*/ 1000 h 3750"/>
              <a:gd name="T14" fmla="*/ 500 w 2750"/>
              <a:gd name="T15" fmla="*/ 500 h 3750"/>
              <a:gd name="T16" fmla="*/ 1000 w 2750"/>
              <a:gd name="T17" fmla="*/ 500 h 3750"/>
              <a:gd name="T18" fmla="*/ 1000 w 2750"/>
              <a:gd name="T19" fmla="*/ 375 h 3750"/>
              <a:gd name="T20" fmla="*/ 500 w 2750"/>
              <a:gd name="T21" fmla="*/ 500 h 3750"/>
              <a:gd name="T22" fmla="*/ 0 w 2750"/>
              <a:gd name="T23" fmla="*/ 500 h 3750"/>
              <a:gd name="T24" fmla="*/ 0 w 2750"/>
              <a:gd name="T25" fmla="*/ 3750 h 3750"/>
              <a:gd name="T26" fmla="*/ 2750 w 2750"/>
              <a:gd name="T27" fmla="*/ 3750 h 3750"/>
              <a:gd name="T28" fmla="*/ 2750 w 2750"/>
              <a:gd name="T29" fmla="*/ 500 h 3750"/>
              <a:gd name="T30" fmla="*/ 2250 w 2750"/>
              <a:gd name="T31" fmla="*/ 500 h 3750"/>
              <a:gd name="T32" fmla="*/ 2375 w 2750"/>
              <a:gd name="T33" fmla="*/ 1750 h 3750"/>
              <a:gd name="T34" fmla="*/ 1375 w 2750"/>
              <a:gd name="T35" fmla="*/ 1750 h 3750"/>
              <a:gd name="T36" fmla="*/ 2375 w 2750"/>
              <a:gd name="T37" fmla="*/ 2500 h 3750"/>
              <a:gd name="T38" fmla="*/ 1375 w 2750"/>
              <a:gd name="T39" fmla="*/ 2500 h 3750"/>
              <a:gd name="T40" fmla="*/ 2375 w 2750"/>
              <a:gd name="T41" fmla="*/ 3250 h 3750"/>
              <a:gd name="T42" fmla="*/ 1375 w 2750"/>
              <a:gd name="T43" fmla="*/ 3250 h 3750"/>
              <a:gd name="T44" fmla="*/ 500 w 2750"/>
              <a:gd name="T45" fmla="*/ 1500 h 3750"/>
              <a:gd name="T46" fmla="*/ 750 w 2750"/>
              <a:gd name="T47" fmla="*/ 1750 h 3750"/>
              <a:gd name="T48" fmla="*/ 1125 w 2750"/>
              <a:gd name="T49" fmla="*/ 1375 h 3750"/>
              <a:gd name="T50" fmla="*/ 500 w 2750"/>
              <a:gd name="T51" fmla="*/ 2250 h 3750"/>
              <a:gd name="T52" fmla="*/ 750 w 2750"/>
              <a:gd name="T53" fmla="*/ 2500 h 3750"/>
              <a:gd name="T54" fmla="*/ 1125 w 2750"/>
              <a:gd name="T55" fmla="*/ 2125 h 3750"/>
              <a:gd name="T56" fmla="*/ 500 w 2750"/>
              <a:gd name="T57" fmla="*/ 3000 h 3750"/>
              <a:gd name="T58" fmla="*/ 750 w 2750"/>
              <a:gd name="T59" fmla="*/ 3250 h 3750"/>
              <a:gd name="T60" fmla="*/ 1125 w 2750"/>
              <a:gd name="T61" fmla="*/ 2875 h 3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750" h="3750">
                <a:moveTo>
                  <a:pt x="1000" y="375"/>
                </a:moveTo>
                <a:cubicBezTo>
                  <a:pt x="1000" y="168"/>
                  <a:pt x="1168" y="0"/>
                  <a:pt x="1375" y="0"/>
                </a:cubicBezTo>
                <a:cubicBezTo>
                  <a:pt x="1582" y="0"/>
                  <a:pt x="1750" y="168"/>
                  <a:pt x="1750" y="375"/>
                </a:cubicBezTo>
                <a:cubicBezTo>
                  <a:pt x="1750" y="500"/>
                  <a:pt x="1750" y="500"/>
                  <a:pt x="1750" y="500"/>
                </a:cubicBezTo>
                <a:cubicBezTo>
                  <a:pt x="2250" y="500"/>
                  <a:pt x="2250" y="500"/>
                  <a:pt x="2250" y="500"/>
                </a:cubicBezTo>
                <a:cubicBezTo>
                  <a:pt x="2250" y="1000"/>
                  <a:pt x="2250" y="1000"/>
                  <a:pt x="2250" y="1000"/>
                </a:cubicBezTo>
                <a:cubicBezTo>
                  <a:pt x="500" y="1000"/>
                  <a:pt x="500" y="1000"/>
                  <a:pt x="500" y="1000"/>
                </a:cubicBezTo>
                <a:cubicBezTo>
                  <a:pt x="500" y="500"/>
                  <a:pt x="500" y="500"/>
                  <a:pt x="500" y="500"/>
                </a:cubicBezTo>
                <a:cubicBezTo>
                  <a:pt x="1000" y="500"/>
                  <a:pt x="1000" y="500"/>
                  <a:pt x="1000" y="500"/>
                </a:cubicBezTo>
                <a:lnTo>
                  <a:pt x="1000" y="375"/>
                </a:lnTo>
                <a:close/>
                <a:moveTo>
                  <a:pt x="500" y="500"/>
                </a:moveTo>
                <a:cubicBezTo>
                  <a:pt x="0" y="500"/>
                  <a:pt x="0" y="500"/>
                  <a:pt x="0" y="500"/>
                </a:cubicBezTo>
                <a:cubicBezTo>
                  <a:pt x="0" y="3750"/>
                  <a:pt x="0" y="3750"/>
                  <a:pt x="0" y="3750"/>
                </a:cubicBezTo>
                <a:cubicBezTo>
                  <a:pt x="2750" y="3750"/>
                  <a:pt x="2750" y="3750"/>
                  <a:pt x="2750" y="3750"/>
                </a:cubicBezTo>
                <a:cubicBezTo>
                  <a:pt x="2750" y="500"/>
                  <a:pt x="2750" y="500"/>
                  <a:pt x="2750" y="500"/>
                </a:cubicBezTo>
                <a:cubicBezTo>
                  <a:pt x="2250" y="500"/>
                  <a:pt x="2250" y="500"/>
                  <a:pt x="2250" y="500"/>
                </a:cubicBezTo>
                <a:moveTo>
                  <a:pt x="2375" y="1750"/>
                </a:moveTo>
                <a:cubicBezTo>
                  <a:pt x="1375" y="1750"/>
                  <a:pt x="1375" y="1750"/>
                  <a:pt x="1375" y="1750"/>
                </a:cubicBezTo>
                <a:moveTo>
                  <a:pt x="2375" y="2500"/>
                </a:moveTo>
                <a:cubicBezTo>
                  <a:pt x="1375" y="2500"/>
                  <a:pt x="1375" y="2500"/>
                  <a:pt x="1375" y="2500"/>
                </a:cubicBezTo>
                <a:moveTo>
                  <a:pt x="2375" y="3250"/>
                </a:moveTo>
                <a:cubicBezTo>
                  <a:pt x="1375" y="3250"/>
                  <a:pt x="1375" y="3250"/>
                  <a:pt x="1375" y="3250"/>
                </a:cubicBezTo>
                <a:moveTo>
                  <a:pt x="500" y="1500"/>
                </a:moveTo>
                <a:cubicBezTo>
                  <a:pt x="750" y="1750"/>
                  <a:pt x="750" y="1750"/>
                  <a:pt x="750" y="1750"/>
                </a:cubicBezTo>
                <a:cubicBezTo>
                  <a:pt x="1125" y="1375"/>
                  <a:pt x="1125" y="1375"/>
                  <a:pt x="1125" y="1375"/>
                </a:cubicBezTo>
                <a:moveTo>
                  <a:pt x="500" y="2250"/>
                </a:moveTo>
                <a:cubicBezTo>
                  <a:pt x="750" y="2500"/>
                  <a:pt x="750" y="2500"/>
                  <a:pt x="750" y="2500"/>
                </a:cubicBezTo>
                <a:cubicBezTo>
                  <a:pt x="1125" y="2125"/>
                  <a:pt x="1125" y="2125"/>
                  <a:pt x="1125" y="2125"/>
                </a:cubicBezTo>
                <a:moveTo>
                  <a:pt x="500" y="3000"/>
                </a:moveTo>
                <a:cubicBezTo>
                  <a:pt x="750" y="3250"/>
                  <a:pt x="750" y="3250"/>
                  <a:pt x="750" y="3250"/>
                </a:cubicBezTo>
                <a:cubicBezTo>
                  <a:pt x="1125" y="2875"/>
                  <a:pt x="1125" y="2875"/>
                  <a:pt x="1125" y="2875"/>
                </a:cubicBezTo>
              </a:path>
            </a:pathLst>
          </a:custGeom>
          <a:solidFill>
            <a:schemeClr val="tx1"/>
          </a:solidFill>
          <a:ln w="1587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89640" tIns="44821" rIns="89640" bIns="44821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30">
              <a:solidFill>
                <a:srgbClr val="1A1A1A"/>
              </a:solidFill>
              <a:latin typeface="Segoe UI"/>
            </a:endParaRPr>
          </a:p>
        </p:txBody>
      </p:sp>
      <p:pic>
        <p:nvPicPr>
          <p:cNvPr id="1036" name="Picture 12" descr="Image result for sql logo">
            <a:extLst>
              <a:ext uri="{FF2B5EF4-FFF2-40B4-BE49-F238E27FC236}">
                <a16:creationId xmlns:a16="http://schemas.microsoft.com/office/drawing/2014/main" id="{3343F143-2136-4A36-B32B-3173F362E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7056" y="4338506"/>
            <a:ext cx="377933" cy="396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Image result for azure table storage logo">
            <a:extLst>
              <a:ext uri="{FF2B5EF4-FFF2-40B4-BE49-F238E27FC236}">
                <a16:creationId xmlns:a16="http://schemas.microsoft.com/office/drawing/2014/main" id="{95236328-4454-4970-B92A-83DE3725B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6347" y="4314864"/>
            <a:ext cx="443755" cy="443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Image result for aws logo png">
            <a:extLst>
              <a:ext uri="{FF2B5EF4-FFF2-40B4-BE49-F238E27FC236}">
                <a16:creationId xmlns:a16="http://schemas.microsoft.com/office/drawing/2014/main" id="{C1C336DB-1FCB-4972-9A93-298B1981B2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9603" y="2612062"/>
            <a:ext cx="561186" cy="21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building_4">
            <a:extLst>
              <a:ext uri="{FF2B5EF4-FFF2-40B4-BE49-F238E27FC236}">
                <a16:creationId xmlns:a16="http://schemas.microsoft.com/office/drawing/2014/main" id="{DC54346D-6FE1-497F-BAB2-878AA2668BF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62109" y="3045221"/>
            <a:ext cx="200226" cy="203379"/>
          </a:xfrm>
          <a:custGeom>
            <a:avLst/>
            <a:gdLst>
              <a:gd name="T0" fmla="*/ 200 w 254"/>
              <a:gd name="T1" fmla="*/ 258 h 258"/>
              <a:gd name="T2" fmla="*/ 55 w 254"/>
              <a:gd name="T3" fmla="*/ 44 h 258"/>
              <a:gd name="T4" fmla="*/ 200 w 254"/>
              <a:gd name="T5" fmla="*/ 44 h 258"/>
              <a:gd name="T6" fmla="*/ 55 w 254"/>
              <a:gd name="T7" fmla="*/ 72 h 258"/>
              <a:gd name="T8" fmla="*/ 0 w 254"/>
              <a:gd name="T9" fmla="*/ 258 h 258"/>
              <a:gd name="T10" fmla="*/ 21 w 254"/>
              <a:gd name="T11" fmla="*/ 102 h 258"/>
              <a:gd name="T12" fmla="*/ 21 w 254"/>
              <a:gd name="T13" fmla="*/ 128 h 258"/>
              <a:gd name="T14" fmla="*/ 21 w 254"/>
              <a:gd name="T15" fmla="*/ 155 h 258"/>
              <a:gd name="T16" fmla="*/ 21 w 254"/>
              <a:gd name="T17" fmla="*/ 182 h 258"/>
              <a:gd name="T18" fmla="*/ 21 w 254"/>
              <a:gd name="T19" fmla="*/ 209 h 258"/>
              <a:gd name="T20" fmla="*/ 200 w 254"/>
              <a:gd name="T21" fmla="*/ 258 h 258"/>
              <a:gd name="T22" fmla="*/ 254 w 254"/>
              <a:gd name="T23" fmla="*/ 72 h 258"/>
              <a:gd name="T24" fmla="*/ 234 w 254"/>
              <a:gd name="T25" fmla="*/ 102 h 258"/>
              <a:gd name="T26" fmla="*/ 234 w 254"/>
              <a:gd name="T27" fmla="*/ 128 h 258"/>
              <a:gd name="T28" fmla="*/ 234 w 254"/>
              <a:gd name="T29" fmla="*/ 155 h 258"/>
              <a:gd name="T30" fmla="*/ 234 w 254"/>
              <a:gd name="T31" fmla="*/ 182 h 258"/>
              <a:gd name="T32" fmla="*/ 234 w 254"/>
              <a:gd name="T33" fmla="*/ 209 h 258"/>
              <a:gd name="T34" fmla="*/ 96 w 254"/>
              <a:gd name="T35" fmla="*/ 71 h 258"/>
              <a:gd name="T36" fmla="*/ 87 w 254"/>
              <a:gd name="T37" fmla="*/ 66 h 258"/>
              <a:gd name="T38" fmla="*/ 96 w 254"/>
              <a:gd name="T39" fmla="*/ 76 h 258"/>
              <a:gd name="T40" fmla="*/ 132 w 254"/>
              <a:gd name="T41" fmla="*/ 71 h 258"/>
              <a:gd name="T42" fmla="*/ 122 w 254"/>
              <a:gd name="T43" fmla="*/ 66 h 258"/>
              <a:gd name="T44" fmla="*/ 132 w 254"/>
              <a:gd name="T45" fmla="*/ 76 h 258"/>
              <a:gd name="T46" fmla="*/ 168 w 254"/>
              <a:gd name="T47" fmla="*/ 71 h 258"/>
              <a:gd name="T48" fmla="*/ 158 w 254"/>
              <a:gd name="T49" fmla="*/ 66 h 258"/>
              <a:gd name="T50" fmla="*/ 168 w 254"/>
              <a:gd name="T51" fmla="*/ 76 h 258"/>
              <a:gd name="T52" fmla="*/ 96 w 254"/>
              <a:gd name="T53" fmla="*/ 109 h 258"/>
              <a:gd name="T54" fmla="*/ 87 w 254"/>
              <a:gd name="T55" fmla="*/ 104 h 258"/>
              <a:gd name="T56" fmla="*/ 96 w 254"/>
              <a:gd name="T57" fmla="*/ 114 h 258"/>
              <a:gd name="T58" fmla="*/ 132 w 254"/>
              <a:gd name="T59" fmla="*/ 109 h 258"/>
              <a:gd name="T60" fmla="*/ 122 w 254"/>
              <a:gd name="T61" fmla="*/ 104 h 258"/>
              <a:gd name="T62" fmla="*/ 132 w 254"/>
              <a:gd name="T63" fmla="*/ 114 h 258"/>
              <a:gd name="T64" fmla="*/ 168 w 254"/>
              <a:gd name="T65" fmla="*/ 109 h 258"/>
              <a:gd name="T66" fmla="*/ 158 w 254"/>
              <a:gd name="T67" fmla="*/ 104 h 258"/>
              <a:gd name="T68" fmla="*/ 168 w 254"/>
              <a:gd name="T69" fmla="*/ 114 h 258"/>
              <a:gd name="T70" fmla="*/ 96 w 254"/>
              <a:gd name="T71" fmla="*/ 147 h 258"/>
              <a:gd name="T72" fmla="*/ 87 w 254"/>
              <a:gd name="T73" fmla="*/ 142 h 258"/>
              <a:gd name="T74" fmla="*/ 96 w 254"/>
              <a:gd name="T75" fmla="*/ 152 h 258"/>
              <a:gd name="T76" fmla="*/ 132 w 254"/>
              <a:gd name="T77" fmla="*/ 147 h 258"/>
              <a:gd name="T78" fmla="*/ 122 w 254"/>
              <a:gd name="T79" fmla="*/ 142 h 258"/>
              <a:gd name="T80" fmla="*/ 132 w 254"/>
              <a:gd name="T81" fmla="*/ 152 h 258"/>
              <a:gd name="T82" fmla="*/ 168 w 254"/>
              <a:gd name="T83" fmla="*/ 147 h 258"/>
              <a:gd name="T84" fmla="*/ 158 w 254"/>
              <a:gd name="T85" fmla="*/ 142 h 258"/>
              <a:gd name="T86" fmla="*/ 168 w 254"/>
              <a:gd name="T87" fmla="*/ 152 h 258"/>
              <a:gd name="T88" fmla="*/ 96 w 254"/>
              <a:gd name="T89" fmla="*/ 185 h 258"/>
              <a:gd name="T90" fmla="*/ 87 w 254"/>
              <a:gd name="T91" fmla="*/ 180 h 258"/>
              <a:gd name="T92" fmla="*/ 96 w 254"/>
              <a:gd name="T93" fmla="*/ 190 h 258"/>
              <a:gd name="T94" fmla="*/ 132 w 254"/>
              <a:gd name="T95" fmla="*/ 186 h 258"/>
              <a:gd name="T96" fmla="*/ 122 w 254"/>
              <a:gd name="T97" fmla="*/ 180 h 258"/>
              <a:gd name="T98" fmla="*/ 132 w 254"/>
              <a:gd name="T99" fmla="*/ 190 h 258"/>
              <a:gd name="T100" fmla="*/ 168 w 254"/>
              <a:gd name="T101" fmla="*/ 184 h 258"/>
              <a:gd name="T102" fmla="*/ 158 w 254"/>
              <a:gd name="T103" fmla="*/ 180 h 258"/>
              <a:gd name="T104" fmla="*/ 168 w 254"/>
              <a:gd name="T105" fmla="*/ 190 h 258"/>
              <a:gd name="T106" fmla="*/ 163 w 254"/>
              <a:gd name="T107" fmla="*/ 258 h 258"/>
              <a:gd name="T108" fmla="*/ 92 w 254"/>
              <a:gd name="T109" fmla="*/ 217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4" h="258">
                <a:moveTo>
                  <a:pt x="200" y="146"/>
                </a:moveTo>
                <a:lnTo>
                  <a:pt x="200" y="258"/>
                </a:lnTo>
                <a:lnTo>
                  <a:pt x="55" y="258"/>
                </a:lnTo>
                <a:lnTo>
                  <a:pt x="55" y="44"/>
                </a:lnTo>
                <a:lnTo>
                  <a:pt x="127" y="0"/>
                </a:lnTo>
                <a:lnTo>
                  <a:pt x="200" y="44"/>
                </a:lnTo>
                <a:lnTo>
                  <a:pt x="200" y="146"/>
                </a:lnTo>
                <a:moveTo>
                  <a:pt x="55" y="72"/>
                </a:moveTo>
                <a:lnTo>
                  <a:pt x="0" y="72"/>
                </a:lnTo>
                <a:lnTo>
                  <a:pt x="0" y="258"/>
                </a:lnTo>
                <a:lnTo>
                  <a:pt x="55" y="258"/>
                </a:lnTo>
                <a:moveTo>
                  <a:pt x="21" y="102"/>
                </a:moveTo>
                <a:lnTo>
                  <a:pt x="55" y="102"/>
                </a:lnTo>
                <a:moveTo>
                  <a:pt x="21" y="128"/>
                </a:moveTo>
                <a:lnTo>
                  <a:pt x="55" y="128"/>
                </a:lnTo>
                <a:moveTo>
                  <a:pt x="21" y="155"/>
                </a:moveTo>
                <a:lnTo>
                  <a:pt x="55" y="155"/>
                </a:lnTo>
                <a:moveTo>
                  <a:pt x="21" y="182"/>
                </a:moveTo>
                <a:lnTo>
                  <a:pt x="55" y="182"/>
                </a:lnTo>
                <a:moveTo>
                  <a:pt x="21" y="209"/>
                </a:moveTo>
                <a:lnTo>
                  <a:pt x="55" y="209"/>
                </a:lnTo>
                <a:moveTo>
                  <a:pt x="200" y="258"/>
                </a:moveTo>
                <a:lnTo>
                  <a:pt x="254" y="258"/>
                </a:lnTo>
                <a:lnTo>
                  <a:pt x="254" y="72"/>
                </a:lnTo>
                <a:lnTo>
                  <a:pt x="200" y="72"/>
                </a:lnTo>
                <a:moveTo>
                  <a:pt x="234" y="102"/>
                </a:moveTo>
                <a:lnTo>
                  <a:pt x="200" y="102"/>
                </a:lnTo>
                <a:moveTo>
                  <a:pt x="234" y="128"/>
                </a:moveTo>
                <a:lnTo>
                  <a:pt x="200" y="128"/>
                </a:lnTo>
                <a:moveTo>
                  <a:pt x="234" y="155"/>
                </a:moveTo>
                <a:lnTo>
                  <a:pt x="200" y="155"/>
                </a:lnTo>
                <a:moveTo>
                  <a:pt x="234" y="182"/>
                </a:moveTo>
                <a:lnTo>
                  <a:pt x="200" y="182"/>
                </a:lnTo>
                <a:moveTo>
                  <a:pt x="234" y="209"/>
                </a:moveTo>
                <a:lnTo>
                  <a:pt x="200" y="209"/>
                </a:lnTo>
                <a:moveTo>
                  <a:pt x="96" y="71"/>
                </a:moveTo>
                <a:lnTo>
                  <a:pt x="96" y="66"/>
                </a:lnTo>
                <a:lnTo>
                  <a:pt x="87" y="66"/>
                </a:lnTo>
                <a:lnTo>
                  <a:pt x="87" y="76"/>
                </a:lnTo>
                <a:lnTo>
                  <a:pt x="96" y="76"/>
                </a:lnTo>
                <a:lnTo>
                  <a:pt x="96" y="71"/>
                </a:lnTo>
                <a:moveTo>
                  <a:pt x="132" y="71"/>
                </a:moveTo>
                <a:lnTo>
                  <a:pt x="132" y="66"/>
                </a:lnTo>
                <a:lnTo>
                  <a:pt x="122" y="66"/>
                </a:lnTo>
                <a:lnTo>
                  <a:pt x="122" y="76"/>
                </a:lnTo>
                <a:lnTo>
                  <a:pt x="132" y="76"/>
                </a:lnTo>
                <a:lnTo>
                  <a:pt x="132" y="71"/>
                </a:lnTo>
                <a:moveTo>
                  <a:pt x="168" y="71"/>
                </a:moveTo>
                <a:lnTo>
                  <a:pt x="168" y="66"/>
                </a:lnTo>
                <a:lnTo>
                  <a:pt x="158" y="66"/>
                </a:lnTo>
                <a:lnTo>
                  <a:pt x="158" y="76"/>
                </a:lnTo>
                <a:lnTo>
                  <a:pt x="168" y="76"/>
                </a:lnTo>
                <a:lnTo>
                  <a:pt x="168" y="71"/>
                </a:lnTo>
                <a:moveTo>
                  <a:pt x="96" y="109"/>
                </a:moveTo>
                <a:lnTo>
                  <a:pt x="96" y="104"/>
                </a:lnTo>
                <a:lnTo>
                  <a:pt x="87" y="104"/>
                </a:lnTo>
                <a:lnTo>
                  <a:pt x="87" y="114"/>
                </a:lnTo>
                <a:lnTo>
                  <a:pt x="96" y="114"/>
                </a:lnTo>
                <a:lnTo>
                  <a:pt x="96" y="109"/>
                </a:lnTo>
                <a:moveTo>
                  <a:pt x="132" y="109"/>
                </a:moveTo>
                <a:lnTo>
                  <a:pt x="132" y="104"/>
                </a:lnTo>
                <a:lnTo>
                  <a:pt x="122" y="104"/>
                </a:lnTo>
                <a:lnTo>
                  <a:pt x="122" y="114"/>
                </a:lnTo>
                <a:lnTo>
                  <a:pt x="132" y="114"/>
                </a:lnTo>
                <a:lnTo>
                  <a:pt x="132" y="109"/>
                </a:lnTo>
                <a:moveTo>
                  <a:pt x="168" y="109"/>
                </a:moveTo>
                <a:lnTo>
                  <a:pt x="168" y="104"/>
                </a:lnTo>
                <a:lnTo>
                  <a:pt x="158" y="104"/>
                </a:lnTo>
                <a:lnTo>
                  <a:pt x="158" y="114"/>
                </a:lnTo>
                <a:lnTo>
                  <a:pt x="168" y="114"/>
                </a:lnTo>
                <a:lnTo>
                  <a:pt x="168" y="109"/>
                </a:lnTo>
                <a:moveTo>
                  <a:pt x="96" y="147"/>
                </a:moveTo>
                <a:lnTo>
                  <a:pt x="96" y="142"/>
                </a:lnTo>
                <a:lnTo>
                  <a:pt x="87" y="142"/>
                </a:lnTo>
                <a:lnTo>
                  <a:pt x="87" y="152"/>
                </a:lnTo>
                <a:lnTo>
                  <a:pt x="96" y="152"/>
                </a:lnTo>
                <a:lnTo>
                  <a:pt x="96" y="147"/>
                </a:lnTo>
                <a:moveTo>
                  <a:pt x="132" y="147"/>
                </a:moveTo>
                <a:lnTo>
                  <a:pt x="132" y="142"/>
                </a:lnTo>
                <a:lnTo>
                  <a:pt x="122" y="142"/>
                </a:lnTo>
                <a:lnTo>
                  <a:pt x="122" y="152"/>
                </a:lnTo>
                <a:lnTo>
                  <a:pt x="132" y="152"/>
                </a:lnTo>
                <a:lnTo>
                  <a:pt x="132" y="147"/>
                </a:lnTo>
                <a:moveTo>
                  <a:pt x="168" y="147"/>
                </a:moveTo>
                <a:lnTo>
                  <a:pt x="168" y="142"/>
                </a:lnTo>
                <a:lnTo>
                  <a:pt x="158" y="142"/>
                </a:lnTo>
                <a:lnTo>
                  <a:pt x="158" y="152"/>
                </a:lnTo>
                <a:lnTo>
                  <a:pt x="168" y="152"/>
                </a:lnTo>
                <a:lnTo>
                  <a:pt x="168" y="147"/>
                </a:lnTo>
                <a:moveTo>
                  <a:pt x="96" y="185"/>
                </a:moveTo>
                <a:lnTo>
                  <a:pt x="96" y="180"/>
                </a:lnTo>
                <a:lnTo>
                  <a:pt x="87" y="180"/>
                </a:lnTo>
                <a:lnTo>
                  <a:pt x="87" y="190"/>
                </a:lnTo>
                <a:lnTo>
                  <a:pt x="96" y="190"/>
                </a:lnTo>
                <a:lnTo>
                  <a:pt x="96" y="185"/>
                </a:lnTo>
                <a:moveTo>
                  <a:pt x="132" y="186"/>
                </a:moveTo>
                <a:lnTo>
                  <a:pt x="132" y="180"/>
                </a:lnTo>
                <a:lnTo>
                  <a:pt x="122" y="180"/>
                </a:lnTo>
                <a:lnTo>
                  <a:pt x="122" y="190"/>
                </a:lnTo>
                <a:lnTo>
                  <a:pt x="132" y="190"/>
                </a:lnTo>
                <a:lnTo>
                  <a:pt x="132" y="186"/>
                </a:lnTo>
                <a:moveTo>
                  <a:pt x="168" y="184"/>
                </a:moveTo>
                <a:lnTo>
                  <a:pt x="168" y="180"/>
                </a:lnTo>
                <a:lnTo>
                  <a:pt x="158" y="180"/>
                </a:lnTo>
                <a:lnTo>
                  <a:pt x="158" y="190"/>
                </a:lnTo>
                <a:lnTo>
                  <a:pt x="168" y="190"/>
                </a:lnTo>
                <a:lnTo>
                  <a:pt x="168" y="184"/>
                </a:lnTo>
                <a:moveTo>
                  <a:pt x="163" y="258"/>
                </a:moveTo>
                <a:lnTo>
                  <a:pt x="163" y="217"/>
                </a:lnTo>
                <a:lnTo>
                  <a:pt x="92" y="217"/>
                </a:lnTo>
                <a:lnTo>
                  <a:pt x="92" y="258"/>
                </a:lnTo>
              </a:path>
            </a:pathLst>
          </a:custGeom>
          <a:noFill/>
          <a:ln w="952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0" tIns="44821" rIns="89640" bIns="44821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3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ADF3261-F356-483D-A997-C65B2B413B85}"/>
              </a:ext>
            </a:extLst>
          </p:cNvPr>
          <p:cNvSpPr txBox="1"/>
          <p:nvPr/>
        </p:nvSpPr>
        <p:spPr>
          <a:xfrm>
            <a:off x="10764256" y="3107356"/>
            <a:ext cx="524181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784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n premis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9D08BC9-2964-452E-A8A6-5E28D046419C}"/>
              </a:ext>
            </a:extLst>
          </p:cNvPr>
          <p:cNvSpPr txBox="1"/>
          <p:nvPr/>
        </p:nvSpPr>
        <p:spPr>
          <a:xfrm>
            <a:off x="10606323" y="1873813"/>
            <a:ext cx="585097" cy="1425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LOB App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D921DC8-642F-4B63-AA91-30742A5FCD2F}"/>
              </a:ext>
            </a:extLst>
          </p:cNvPr>
          <p:cNvSpPr txBox="1"/>
          <p:nvPr/>
        </p:nvSpPr>
        <p:spPr>
          <a:xfrm>
            <a:off x="10344177" y="3993661"/>
            <a:ext cx="997068" cy="1425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Enterprise store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BC7FE81A-FF54-4D9C-A634-191CECEFCE98}"/>
              </a:ext>
            </a:extLst>
          </p:cNvPr>
          <p:cNvSpPr/>
          <p:nvPr/>
        </p:nvSpPr>
        <p:spPr bwMode="auto">
          <a:xfrm>
            <a:off x="4285782" y="1728823"/>
            <a:ext cx="5382958" cy="3643226"/>
          </a:xfrm>
          <a:prstGeom prst="rect">
            <a:avLst/>
          </a:prstGeom>
          <a:noFill/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89A709B-791C-4694-B473-99F9C842D326}"/>
              </a:ext>
            </a:extLst>
          </p:cNvPr>
          <p:cNvSpPr txBox="1"/>
          <p:nvPr/>
        </p:nvSpPr>
        <p:spPr>
          <a:xfrm>
            <a:off x="4279602" y="1262675"/>
            <a:ext cx="5382958" cy="543236"/>
          </a:xfrm>
          <a:prstGeom prst="rect">
            <a:avLst/>
          </a:prstGeom>
          <a:noFill/>
        </p:spPr>
        <p:txBody>
          <a:bodyPr wrap="square" lIns="179283" tIns="143426" rIns="179283" bIns="143426" rtlCol="0">
            <a:spAutoFit/>
          </a:bodyPr>
          <a:lstStyle/>
          <a:p>
            <a:pPr algn="ctr" defTabSz="914355">
              <a:lnSpc>
                <a:spcPct val="90000"/>
              </a:lnSpc>
              <a:defRPr/>
            </a:pPr>
            <a:r>
              <a:rPr lang="en-US" sz="1730">
                <a:solidFill>
                  <a:srgbClr val="E6E6E6">
                    <a:lumMod val="50000"/>
                  </a:srgb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ot Intelligence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52B4D34B-0DAE-436F-B0B5-F1E649F4E84E}"/>
              </a:ext>
            </a:extLst>
          </p:cNvPr>
          <p:cNvSpPr/>
          <p:nvPr/>
        </p:nvSpPr>
        <p:spPr bwMode="auto">
          <a:xfrm>
            <a:off x="6698690" y="5115682"/>
            <a:ext cx="557143" cy="557143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2" name="Brain_3">
            <a:extLst>
              <a:ext uri="{FF2B5EF4-FFF2-40B4-BE49-F238E27FC236}">
                <a16:creationId xmlns:a16="http://schemas.microsoft.com/office/drawing/2014/main" id="{C110B3BE-D492-4805-B37A-EE44B831C60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81602" y="3116628"/>
            <a:ext cx="777311" cy="835817"/>
          </a:xfrm>
          <a:custGeom>
            <a:avLst/>
            <a:gdLst>
              <a:gd name="T0" fmla="*/ 68 w 315"/>
              <a:gd name="T1" fmla="*/ 292 h 338"/>
              <a:gd name="T2" fmla="*/ 24 w 315"/>
              <a:gd name="T3" fmla="*/ 231 h 338"/>
              <a:gd name="T4" fmla="*/ 28 w 315"/>
              <a:gd name="T5" fmla="*/ 126 h 338"/>
              <a:gd name="T6" fmla="*/ 68 w 315"/>
              <a:gd name="T7" fmla="*/ 46 h 338"/>
              <a:gd name="T8" fmla="*/ 113 w 315"/>
              <a:gd name="T9" fmla="*/ 0 h 338"/>
              <a:gd name="T10" fmla="*/ 158 w 315"/>
              <a:gd name="T11" fmla="*/ 293 h 338"/>
              <a:gd name="T12" fmla="*/ 248 w 315"/>
              <a:gd name="T13" fmla="*/ 292 h 338"/>
              <a:gd name="T14" fmla="*/ 292 w 315"/>
              <a:gd name="T15" fmla="*/ 231 h 338"/>
              <a:gd name="T16" fmla="*/ 287 w 315"/>
              <a:gd name="T17" fmla="*/ 126 h 338"/>
              <a:gd name="T18" fmla="*/ 248 w 315"/>
              <a:gd name="T19" fmla="*/ 46 h 338"/>
              <a:gd name="T20" fmla="*/ 203 w 315"/>
              <a:gd name="T21" fmla="*/ 0 h 338"/>
              <a:gd name="T22" fmla="*/ 158 w 315"/>
              <a:gd name="T23" fmla="*/ 293 h 338"/>
              <a:gd name="T24" fmla="*/ 90 w 315"/>
              <a:gd name="T25" fmla="*/ 293 h 338"/>
              <a:gd name="T26" fmla="*/ 248 w 315"/>
              <a:gd name="T27" fmla="*/ 293 h 338"/>
              <a:gd name="T28" fmla="*/ 68 w 315"/>
              <a:gd name="T29" fmla="*/ 180 h 338"/>
              <a:gd name="T30" fmla="*/ 90 w 315"/>
              <a:gd name="T31" fmla="*/ 203 h 338"/>
              <a:gd name="T32" fmla="*/ 158 w 315"/>
              <a:gd name="T33" fmla="*/ 225 h 338"/>
              <a:gd name="T34" fmla="*/ 225 w 315"/>
              <a:gd name="T35" fmla="*/ 203 h 338"/>
              <a:gd name="T36" fmla="*/ 248 w 315"/>
              <a:gd name="T37" fmla="*/ 180 h 338"/>
              <a:gd name="T38" fmla="*/ 79 w 315"/>
              <a:gd name="T39" fmla="*/ 90 h 338"/>
              <a:gd name="T40" fmla="*/ 113 w 315"/>
              <a:gd name="T41" fmla="*/ 113 h 338"/>
              <a:gd name="T42" fmla="*/ 135 w 315"/>
              <a:gd name="T43" fmla="*/ 135 h 338"/>
              <a:gd name="T44" fmla="*/ 203 w 315"/>
              <a:gd name="T45" fmla="*/ 113 h 338"/>
              <a:gd name="T46" fmla="*/ 225 w 315"/>
              <a:gd name="T47" fmla="*/ 90 h 338"/>
              <a:gd name="T48" fmla="*/ 24 w 315"/>
              <a:gd name="T49" fmla="*/ 231 h 338"/>
              <a:gd name="T50" fmla="*/ 248 w 315"/>
              <a:gd name="T51" fmla="*/ 248 h 338"/>
              <a:gd name="T52" fmla="*/ 28 w 315"/>
              <a:gd name="T53" fmla="*/ 126 h 338"/>
              <a:gd name="T54" fmla="*/ 243 w 315"/>
              <a:gd name="T55" fmla="*/ 126 h 338"/>
              <a:gd name="T56" fmla="*/ 68 w 315"/>
              <a:gd name="T57" fmla="*/ 45 h 338"/>
              <a:gd name="T58" fmla="*/ 248 w 315"/>
              <a:gd name="T59" fmla="*/ 45 h 338"/>
              <a:gd name="T60" fmla="*/ 135 w 315"/>
              <a:gd name="T61" fmla="*/ 293 h 338"/>
              <a:gd name="T62" fmla="*/ 68 w 315"/>
              <a:gd name="T63" fmla="*/ 293 h 338"/>
              <a:gd name="T64" fmla="*/ 101 w 315"/>
              <a:gd name="T65" fmla="*/ 338 h 338"/>
              <a:gd name="T66" fmla="*/ 158 w 315"/>
              <a:gd name="T67" fmla="*/ 315 h 338"/>
              <a:gd name="T68" fmla="*/ 158 w 315"/>
              <a:gd name="T69" fmla="*/ 293 h 338"/>
              <a:gd name="T70" fmla="*/ 180 w 315"/>
              <a:gd name="T71" fmla="*/ 338 h 338"/>
              <a:gd name="T72" fmla="*/ 248 w 315"/>
              <a:gd name="T73" fmla="*/ 30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15" h="338">
                <a:moveTo>
                  <a:pt x="68" y="293"/>
                </a:moveTo>
                <a:cubicBezTo>
                  <a:pt x="68" y="293"/>
                  <a:pt x="68" y="292"/>
                  <a:pt x="68" y="292"/>
                </a:cubicBezTo>
                <a:cubicBezTo>
                  <a:pt x="42" y="289"/>
                  <a:pt x="23" y="268"/>
                  <a:pt x="23" y="242"/>
                </a:cubicBezTo>
                <a:cubicBezTo>
                  <a:pt x="23" y="238"/>
                  <a:pt x="23" y="235"/>
                  <a:pt x="24" y="231"/>
                </a:cubicBezTo>
                <a:cubicBezTo>
                  <a:pt x="10" y="219"/>
                  <a:pt x="0" y="201"/>
                  <a:pt x="0" y="180"/>
                </a:cubicBezTo>
                <a:cubicBezTo>
                  <a:pt x="0" y="158"/>
                  <a:pt x="11" y="138"/>
                  <a:pt x="28" y="126"/>
                </a:cubicBezTo>
                <a:cubicBezTo>
                  <a:pt x="25" y="118"/>
                  <a:pt x="23" y="110"/>
                  <a:pt x="23" y="102"/>
                </a:cubicBezTo>
                <a:cubicBezTo>
                  <a:pt x="23" y="74"/>
                  <a:pt x="42" y="52"/>
                  <a:pt x="68" y="46"/>
                </a:cubicBezTo>
                <a:cubicBezTo>
                  <a:pt x="68" y="46"/>
                  <a:pt x="68" y="46"/>
                  <a:pt x="68" y="45"/>
                </a:cubicBezTo>
                <a:cubicBezTo>
                  <a:pt x="68" y="20"/>
                  <a:pt x="88" y="0"/>
                  <a:pt x="113" y="0"/>
                </a:cubicBezTo>
                <a:cubicBezTo>
                  <a:pt x="138" y="0"/>
                  <a:pt x="158" y="20"/>
                  <a:pt x="158" y="45"/>
                </a:cubicBezTo>
                <a:cubicBezTo>
                  <a:pt x="158" y="293"/>
                  <a:pt x="158" y="293"/>
                  <a:pt x="158" y="293"/>
                </a:cubicBezTo>
                <a:moveTo>
                  <a:pt x="248" y="293"/>
                </a:moveTo>
                <a:cubicBezTo>
                  <a:pt x="248" y="293"/>
                  <a:pt x="248" y="292"/>
                  <a:pt x="248" y="292"/>
                </a:cubicBezTo>
                <a:cubicBezTo>
                  <a:pt x="273" y="289"/>
                  <a:pt x="293" y="268"/>
                  <a:pt x="293" y="242"/>
                </a:cubicBezTo>
                <a:cubicBezTo>
                  <a:pt x="293" y="238"/>
                  <a:pt x="292" y="235"/>
                  <a:pt x="292" y="231"/>
                </a:cubicBezTo>
                <a:cubicBezTo>
                  <a:pt x="306" y="219"/>
                  <a:pt x="315" y="201"/>
                  <a:pt x="315" y="180"/>
                </a:cubicBezTo>
                <a:cubicBezTo>
                  <a:pt x="315" y="158"/>
                  <a:pt x="304" y="138"/>
                  <a:pt x="287" y="126"/>
                </a:cubicBezTo>
                <a:cubicBezTo>
                  <a:pt x="291" y="118"/>
                  <a:pt x="293" y="110"/>
                  <a:pt x="293" y="102"/>
                </a:cubicBezTo>
                <a:cubicBezTo>
                  <a:pt x="293" y="74"/>
                  <a:pt x="273" y="52"/>
                  <a:pt x="248" y="46"/>
                </a:cubicBezTo>
                <a:cubicBezTo>
                  <a:pt x="248" y="46"/>
                  <a:pt x="248" y="46"/>
                  <a:pt x="248" y="45"/>
                </a:cubicBezTo>
                <a:cubicBezTo>
                  <a:pt x="248" y="20"/>
                  <a:pt x="228" y="0"/>
                  <a:pt x="203" y="0"/>
                </a:cubicBezTo>
                <a:cubicBezTo>
                  <a:pt x="178" y="0"/>
                  <a:pt x="158" y="20"/>
                  <a:pt x="158" y="45"/>
                </a:cubicBezTo>
                <a:cubicBezTo>
                  <a:pt x="158" y="293"/>
                  <a:pt x="158" y="293"/>
                  <a:pt x="158" y="293"/>
                </a:cubicBezTo>
                <a:moveTo>
                  <a:pt x="68" y="293"/>
                </a:moveTo>
                <a:cubicBezTo>
                  <a:pt x="90" y="293"/>
                  <a:pt x="90" y="293"/>
                  <a:pt x="90" y="293"/>
                </a:cubicBezTo>
                <a:moveTo>
                  <a:pt x="225" y="293"/>
                </a:moveTo>
                <a:cubicBezTo>
                  <a:pt x="248" y="293"/>
                  <a:pt x="248" y="293"/>
                  <a:pt x="248" y="293"/>
                </a:cubicBezTo>
                <a:moveTo>
                  <a:pt x="56" y="180"/>
                </a:moveTo>
                <a:cubicBezTo>
                  <a:pt x="68" y="180"/>
                  <a:pt x="68" y="180"/>
                  <a:pt x="68" y="180"/>
                </a:cubicBezTo>
                <a:cubicBezTo>
                  <a:pt x="80" y="180"/>
                  <a:pt x="90" y="190"/>
                  <a:pt x="90" y="203"/>
                </a:cubicBezTo>
                <a:cubicBezTo>
                  <a:pt x="90" y="203"/>
                  <a:pt x="90" y="203"/>
                  <a:pt x="90" y="203"/>
                </a:cubicBezTo>
                <a:cubicBezTo>
                  <a:pt x="90" y="215"/>
                  <a:pt x="100" y="225"/>
                  <a:pt x="113" y="225"/>
                </a:cubicBezTo>
                <a:cubicBezTo>
                  <a:pt x="158" y="225"/>
                  <a:pt x="158" y="225"/>
                  <a:pt x="158" y="225"/>
                </a:cubicBezTo>
                <a:cubicBezTo>
                  <a:pt x="203" y="225"/>
                  <a:pt x="203" y="225"/>
                  <a:pt x="203" y="225"/>
                </a:cubicBezTo>
                <a:cubicBezTo>
                  <a:pt x="215" y="225"/>
                  <a:pt x="225" y="215"/>
                  <a:pt x="225" y="203"/>
                </a:cubicBezTo>
                <a:cubicBezTo>
                  <a:pt x="225" y="203"/>
                  <a:pt x="225" y="203"/>
                  <a:pt x="225" y="203"/>
                </a:cubicBezTo>
                <a:cubicBezTo>
                  <a:pt x="225" y="190"/>
                  <a:pt x="235" y="180"/>
                  <a:pt x="248" y="180"/>
                </a:cubicBezTo>
                <a:cubicBezTo>
                  <a:pt x="259" y="180"/>
                  <a:pt x="259" y="180"/>
                  <a:pt x="259" y="180"/>
                </a:cubicBezTo>
                <a:moveTo>
                  <a:pt x="79" y="90"/>
                </a:moveTo>
                <a:cubicBezTo>
                  <a:pt x="90" y="90"/>
                  <a:pt x="90" y="90"/>
                  <a:pt x="90" y="90"/>
                </a:cubicBezTo>
                <a:cubicBezTo>
                  <a:pt x="103" y="90"/>
                  <a:pt x="113" y="100"/>
                  <a:pt x="113" y="113"/>
                </a:cubicBezTo>
                <a:cubicBezTo>
                  <a:pt x="113" y="113"/>
                  <a:pt x="113" y="113"/>
                  <a:pt x="113" y="113"/>
                </a:cubicBezTo>
                <a:cubicBezTo>
                  <a:pt x="113" y="125"/>
                  <a:pt x="123" y="135"/>
                  <a:pt x="135" y="135"/>
                </a:cubicBezTo>
                <a:cubicBezTo>
                  <a:pt x="180" y="135"/>
                  <a:pt x="180" y="135"/>
                  <a:pt x="180" y="135"/>
                </a:cubicBezTo>
                <a:cubicBezTo>
                  <a:pt x="193" y="135"/>
                  <a:pt x="203" y="125"/>
                  <a:pt x="203" y="113"/>
                </a:cubicBezTo>
                <a:cubicBezTo>
                  <a:pt x="203" y="113"/>
                  <a:pt x="203" y="113"/>
                  <a:pt x="203" y="113"/>
                </a:cubicBezTo>
                <a:cubicBezTo>
                  <a:pt x="203" y="100"/>
                  <a:pt x="213" y="90"/>
                  <a:pt x="225" y="90"/>
                </a:cubicBezTo>
                <a:cubicBezTo>
                  <a:pt x="236" y="90"/>
                  <a:pt x="236" y="90"/>
                  <a:pt x="236" y="90"/>
                </a:cubicBezTo>
                <a:moveTo>
                  <a:pt x="24" y="231"/>
                </a:moveTo>
                <a:cubicBezTo>
                  <a:pt x="36" y="242"/>
                  <a:pt x="51" y="248"/>
                  <a:pt x="68" y="248"/>
                </a:cubicBezTo>
                <a:moveTo>
                  <a:pt x="248" y="248"/>
                </a:moveTo>
                <a:cubicBezTo>
                  <a:pt x="265" y="248"/>
                  <a:pt x="280" y="242"/>
                  <a:pt x="292" y="231"/>
                </a:cubicBezTo>
                <a:moveTo>
                  <a:pt x="28" y="126"/>
                </a:moveTo>
                <a:cubicBezTo>
                  <a:pt x="73" y="126"/>
                  <a:pt x="73" y="126"/>
                  <a:pt x="73" y="126"/>
                </a:cubicBezTo>
                <a:moveTo>
                  <a:pt x="243" y="126"/>
                </a:moveTo>
                <a:cubicBezTo>
                  <a:pt x="288" y="126"/>
                  <a:pt x="288" y="126"/>
                  <a:pt x="288" y="126"/>
                </a:cubicBezTo>
                <a:moveTo>
                  <a:pt x="68" y="45"/>
                </a:moveTo>
                <a:cubicBezTo>
                  <a:pt x="101" y="45"/>
                  <a:pt x="101" y="45"/>
                  <a:pt x="101" y="45"/>
                </a:cubicBezTo>
                <a:moveTo>
                  <a:pt x="248" y="45"/>
                </a:moveTo>
                <a:cubicBezTo>
                  <a:pt x="214" y="45"/>
                  <a:pt x="214" y="45"/>
                  <a:pt x="214" y="45"/>
                </a:cubicBezTo>
                <a:moveTo>
                  <a:pt x="135" y="293"/>
                </a:moveTo>
                <a:cubicBezTo>
                  <a:pt x="180" y="293"/>
                  <a:pt x="180" y="293"/>
                  <a:pt x="180" y="293"/>
                </a:cubicBezTo>
                <a:moveTo>
                  <a:pt x="68" y="293"/>
                </a:moveTo>
                <a:cubicBezTo>
                  <a:pt x="68" y="304"/>
                  <a:pt x="68" y="304"/>
                  <a:pt x="68" y="304"/>
                </a:cubicBezTo>
                <a:cubicBezTo>
                  <a:pt x="68" y="323"/>
                  <a:pt x="83" y="338"/>
                  <a:pt x="101" y="338"/>
                </a:cubicBezTo>
                <a:cubicBezTo>
                  <a:pt x="135" y="338"/>
                  <a:pt x="135" y="338"/>
                  <a:pt x="135" y="338"/>
                </a:cubicBezTo>
                <a:cubicBezTo>
                  <a:pt x="148" y="338"/>
                  <a:pt x="158" y="328"/>
                  <a:pt x="158" y="315"/>
                </a:cubicBezTo>
                <a:cubicBezTo>
                  <a:pt x="158" y="293"/>
                  <a:pt x="158" y="293"/>
                  <a:pt x="158" y="293"/>
                </a:cubicBezTo>
                <a:moveTo>
                  <a:pt x="158" y="293"/>
                </a:moveTo>
                <a:cubicBezTo>
                  <a:pt x="158" y="315"/>
                  <a:pt x="158" y="315"/>
                  <a:pt x="158" y="315"/>
                </a:cubicBezTo>
                <a:cubicBezTo>
                  <a:pt x="158" y="328"/>
                  <a:pt x="168" y="338"/>
                  <a:pt x="180" y="338"/>
                </a:cubicBezTo>
                <a:cubicBezTo>
                  <a:pt x="214" y="338"/>
                  <a:pt x="214" y="338"/>
                  <a:pt x="214" y="338"/>
                </a:cubicBezTo>
                <a:cubicBezTo>
                  <a:pt x="233" y="338"/>
                  <a:pt x="248" y="323"/>
                  <a:pt x="248" y="304"/>
                </a:cubicBezTo>
                <a:cubicBezTo>
                  <a:pt x="248" y="293"/>
                  <a:pt x="248" y="293"/>
                  <a:pt x="248" y="293"/>
                </a:cubicBezTo>
              </a:path>
            </a:pathLst>
          </a:custGeom>
          <a:noFill/>
          <a:ln w="1905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0" tIns="44821" rIns="89640" bIns="44821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1730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C456E015-71A8-4D33-8736-BC26D5B40CB8}"/>
              </a:ext>
            </a:extLst>
          </p:cNvPr>
          <p:cNvSpPr/>
          <p:nvPr/>
        </p:nvSpPr>
        <p:spPr bwMode="auto">
          <a:xfrm rot="20445667">
            <a:off x="6169198" y="2833478"/>
            <a:ext cx="1402118" cy="1402118"/>
          </a:xfrm>
          <a:prstGeom prst="ellipse">
            <a:avLst/>
          </a:prstGeom>
          <a:noFill/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0BC3B52-C8B3-444E-8FAB-22412E40D9D7}"/>
              </a:ext>
            </a:extLst>
          </p:cNvPr>
          <p:cNvSpPr txBox="1"/>
          <p:nvPr/>
        </p:nvSpPr>
        <p:spPr>
          <a:xfrm>
            <a:off x="4709164" y="2934415"/>
            <a:ext cx="432811" cy="1425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peech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E8D9388-CCB1-49B8-9509-569084D59FD2}"/>
              </a:ext>
            </a:extLst>
          </p:cNvPr>
          <p:cNvSpPr/>
          <p:nvPr/>
        </p:nvSpPr>
        <p:spPr bwMode="auto">
          <a:xfrm rot="788405">
            <a:off x="5277217" y="2702577"/>
            <a:ext cx="557143" cy="557143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ABDBE43F-5DD6-4D82-9D11-0069E57552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94310" y="2867932"/>
            <a:ext cx="319638" cy="273536"/>
            <a:chOff x="1" y="3"/>
            <a:chExt cx="2697" cy="2308"/>
          </a:xfrm>
          <a:solidFill>
            <a:schemeClr val="tx1"/>
          </a:solidFill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DC6B24CC-1BCA-472B-AE77-BE7A629418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" y="808"/>
              <a:ext cx="1466" cy="333"/>
            </a:xfrm>
            <a:custGeom>
              <a:avLst/>
              <a:gdLst>
                <a:gd name="T0" fmla="*/ 80 w 705"/>
                <a:gd name="T1" fmla="*/ 0 h 160"/>
                <a:gd name="T2" fmla="*/ 137 w 705"/>
                <a:gd name="T3" fmla="*/ 23 h 160"/>
                <a:gd name="T4" fmla="*/ 159 w 705"/>
                <a:gd name="T5" fmla="*/ 80 h 160"/>
                <a:gd name="T6" fmla="*/ 137 w 705"/>
                <a:gd name="T7" fmla="*/ 137 h 160"/>
                <a:gd name="T8" fmla="*/ 80 w 705"/>
                <a:gd name="T9" fmla="*/ 160 h 160"/>
                <a:gd name="T10" fmla="*/ 22 w 705"/>
                <a:gd name="T11" fmla="*/ 136 h 160"/>
                <a:gd name="T12" fmla="*/ 0 w 705"/>
                <a:gd name="T13" fmla="*/ 80 h 160"/>
                <a:gd name="T14" fmla="*/ 23 w 705"/>
                <a:gd name="T15" fmla="*/ 23 h 160"/>
                <a:gd name="T16" fmla="*/ 80 w 705"/>
                <a:gd name="T17" fmla="*/ 0 h 160"/>
                <a:gd name="T18" fmla="*/ 353 w 705"/>
                <a:gd name="T19" fmla="*/ 0 h 160"/>
                <a:gd name="T20" fmla="*/ 410 w 705"/>
                <a:gd name="T21" fmla="*/ 23 h 160"/>
                <a:gd name="T22" fmla="*/ 432 w 705"/>
                <a:gd name="T23" fmla="*/ 80 h 160"/>
                <a:gd name="T24" fmla="*/ 410 w 705"/>
                <a:gd name="T25" fmla="*/ 137 h 160"/>
                <a:gd name="T26" fmla="*/ 353 w 705"/>
                <a:gd name="T27" fmla="*/ 160 h 160"/>
                <a:gd name="T28" fmla="*/ 295 w 705"/>
                <a:gd name="T29" fmla="*/ 136 h 160"/>
                <a:gd name="T30" fmla="*/ 273 w 705"/>
                <a:gd name="T31" fmla="*/ 80 h 160"/>
                <a:gd name="T32" fmla="*/ 296 w 705"/>
                <a:gd name="T33" fmla="*/ 23 h 160"/>
                <a:gd name="T34" fmla="*/ 353 w 705"/>
                <a:gd name="T35" fmla="*/ 0 h 160"/>
                <a:gd name="T36" fmla="*/ 626 w 705"/>
                <a:gd name="T37" fmla="*/ 0 h 160"/>
                <a:gd name="T38" fmla="*/ 683 w 705"/>
                <a:gd name="T39" fmla="*/ 23 h 160"/>
                <a:gd name="T40" fmla="*/ 705 w 705"/>
                <a:gd name="T41" fmla="*/ 80 h 160"/>
                <a:gd name="T42" fmla="*/ 683 w 705"/>
                <a:gd name="T43" fmla="*/ 137 h 160"/>
                <a:gd name="T44" fmla="*/ 626 w 705"/>
                <a:gd name="T45" fmla="*/ 160 h 160"/>
                <a:gd name="T46" fmla="*/ 568 w 705"/>
                <a:gd name="T47" fmla="*/ 136 h 160"/>
                <a:gd name="T48" fmla="*/ 546 w 705"/>
                <a:gd name="T49" fmla="*/ 80 h 160"/>
                <a:gd name="T50" fmla="*/ 569 w 705"/>
                <a:gd name="T51" fmla="*/ 23 h 160"/>
                <a:gd name="T52" fmla="*/ 626 w 705"/>
                <a:gd name="T5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5" h="160">
                  <a:moveTo>
                    <a:pt x="80" y="0"/>
                  </a:moveTo>
                  <a:cubicBezTo>
                    <a:pt x="103" y="0"/>
                    <a:pt x="122" y="8"/>
                    <a:pt x="137" y="23"/>
                  </a:cubicBezTo>
                  <a:cubicBezTo>
                    <a:pt x="152" y="38"/>
                    <a:pt x="159" y="57"/>
                    <a:pt x="159" y="80"/>
                  </a:cubicBezTo>
                  <a:cubicBezTo>
                    <a:pt x="159" y="103"/>
                    <a:pt x="152" y="122"/>
                    <a:pt x="137" y="137"/>
                  </a:cubicBezTo>
                  <a:cubicBezTo>
                    <a:pt x="122" y="152"/>
                    <a:pt x="103" y="160"/>
                    <a:pt x="80" y="160"/>
                  </a:cubicBezTo>
                  <a:cubicBezTo>
                    <a:pt x="57" y="160"/>
                    <a:pt x="37" y="152"/>
                    <a:pt x="22" y="136"/>
                  </a:cubicBezTo>
                  <a:cubicBezTo>
                    <a:pt x="7" y="121"/>
                    <a:pt x="0" y="102"/>
                    <a:pt x="0" y="80"/>
                  </a:cubicBezTo>
                  <a:cubicBezTo>
                    <a:pt x="0" y="56"/>
                    <a:pt x="7" y="37"/>
                    <a:pt x="23" y="23"/>
                  </a:cubicBezTo>
                  <a:cubicBezTo>
                    <a:pt x="38" y="8"/>
                    <a:pt x="57" y="0"/>
                    <a:pt x="80" y="0"/>
                  </a:cubicBezTo>
                  <a:close/>
                  <a:moveTo>
                    <a:pt x="353" y="0"/>
                  </a:moveTo>
                  <a:cubicBezTo>
                    <a:pt x="376" y="0"/>
                    <a:pt x="395" y="8"/>
                    <a:pt x="410" y="23"/>
                  </a:cubicBezTo>
                  <a:cubicBezTo>
                    <a:pt x="425" y="38"/>
                    <a:pt x="432" y="57"/>
                    <a:pt x="432" y="80"/>
                  </a:cubicBezTo>
                  <a:cubicBezTo>
                    <a:pt x="432" y="103"/>
                    <a:pt x="425" y="122"/>
                    <a:pt x="410" y="137"/>
                  </a:cubicBezTo>
                  <a:cubicBezTo>
                    <a:pt x="395" y="152"/>
                    <a:pt x="376" y="160"/>
                    <a:pt x="353" y="160"/>
                  </a:cubicBezTo>
                  <a:cubicBezTo>
                    <a:pt x="330" y="160"/>
                    <a:pt x="310" y="152"/>
                    <a:pt x="295" y="136"/>
                  </a:cubicBezTo>
                  <a:cubicBezTo>
                    <a:pt x="280" y="121"/>
                    <a:pt x="273" y="102"/>
                    <a:pt x="273" y="80"/>
                  </a:cubicBezTo>
                  <a:cubicBezTo>
                    <a:pt x="273" y="56"/>
                    <a:pt x="280" y="37"/>
                    <a:pt x="296" y="23"/>
                  </a:cubicBezTo>
                  <a:cubicBezTo>
                    <a:pt x="311" y="8"/>
                    <a:pt x="330" y="0"/>
                    <a:pt x="353" y="0"/>
                  </a:cubicBezTo>
                  <a:close/>
                  <a:moveTo>
                    <a:pt x="626" y="0"/>
                  </a:moveTo>
                  <a:cubicBezTo>
                    <a:pt x="649" y="0"/>
                    <a:pt x="668" y="8"/>
                    <a:pt x="683" y="23"/>
                  </a:cubicBezTo>
                  <a:cubicBezTo>
                    <a:pt x="698" y="38"/>
                    <a:pt x="705" y="57"/>
                    <a:pt x="705" y="80"/>
                  </a:cubicBezTo>
                  <a:cubicBezTo>
                    <a:pt x="705" y="103"/>
                    <a:pt x="698" y="122"/>
                    <a:pt x="683" y="137"/>
                  </a:cubicBezTo>
                  <a:cubicBezTo>
                    <a:pt x="668" y="152"/>
                    <a:pt x="649" y="160"/>
                    <a:pt x="626" y="160"/>
                  </a:cubicBezTo>
                  <a:cubicBezTo>
                    <a:pt x="603" y="160"/>
                    <a:pt x="584" y="152"/>
                    <a:pt x="568" y="136"/>
                  </a:cubicBezTo>
                  <a:cubicBezTo>
                    <a:pt x="553" y="121"/>
                    <a:pt x="546" y="102"/>
                    <a:pt x="546" y="80"/>
                  </a:cubicBezTo>
                  <a:cubicBezTo>
                    <a:pt x="546" y="56"/>
                    <a:pt x="553" y="37"/>
                    <a:pt x="569" y="23"/>
                  </a:cubicBezTo>
                  <a:cubicBezTo>
                    <a:pt x="584" y="8"/>
                    <a:pt x="603" y="0"/>
                    <a:pt x="626" y="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006624C4-46A0-4CF5-86B7-B5ED1AD59E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3"/>
              <a:ext cx="2697" cy="2308"/>
            </a:xfrm>
            <a:custGeom>
              <a:avLst/>
              <a:gdLst>
                <a:gd name="T0" fmla="*/ 1206 w 1297"/>
                <a:gd name="T1" fmla="*/ 479 h 1107"/>
                <a:gd name="T2" fmla="*/ 854 w 1297"/>
                <a:gd name="T3" fmla="*/ 839 h 1107"/>
                <a:gd name="T4" fmla="*/ 443 w 1297"/>
                <a:gd name="T5" fmla="*/ 839 h 1107"/>
                <a:gd name="T6" fmla="*/ 418 w 1297"/>
                <a:gd name="T7" fmla="*/ 839 h 1107"/>
                <a:gd name="T8" fmla="*/ 189 w 1297"/>
                <a:gd name="T9" fmla="*/ 937 h 1107"/>
                <a:gd name="T10" fmla="*/ 251 w 1297"/>
                <a:gd name="T11" fmla="*/ 781 h 1107"/>
                <a:gd name="T12" fmla="*/ 91 w 1297"/>
                <a:gd name="T13" fmla="*/ 479 h 1107"/>
                <a:gd name="T14" fmla="*/ 91 w 1297"/>
                <a:gd name="T15" fmla="*/ 450 h 1107"/>
                <a:gd name="T16" fmla="*/ 443 w 1297"/>
                <a:gd name="T17" fmla="*/ 90 h 1107"/>
                <a:gd name="T18" fmla="*/ 854 w 1297"/>
                <a:gd name="T19" fmla="*/ 90 h 1107"/>
                <a:gd name="T20" fmla="*/ 1206 w 1297"/>
                <a:gd name="T21" fmla="*/ 450 h 1107"/>
                <a:gd name="T22" fmla="*/ 1206 w 1297"/>
                <a:gd name="T23" fmla="*/ 479 h 1107"/>
                <a:gd name="T24" fmla="*/ 854 w 1297"/>
                <a:gd name="T25" fmla="*/ 0 h 1107"/>
                <a:gd name="T26" fmla="*/ 443 w 1297"/>
                <a:gd name="T27" fmla="*/ 0 h 1107"/>
                <a:gd name="T28" fmla="*/ 0 w 1297"/>
                <a:gd name="T29" fmla="*/ 450 h 1107"/>
                <a:gd name="T30" fmla="*/ 0 w 1297"/>
                <a:gd name="T31" fmla="*/ 479 h 1107"/>
                <a:gd name="T32" fmla="*/ 142 w 1297"/>
                <a:gd name="T33" fmla="*/ 810 h 1107"/>
                <a:gd name="T34" fmla="*/ 23 w 1297"/>
                <a:gd name="T35" fmla="*/ 1107 h 1107"/>
                <a:gd name="T36" fmla="*/ 435 w 1297"/>
                <a:gd name="T37" fmla="*/ 930 h 1107"/>
                <a:gd name="T38" fmla="*/ 443 w 1297"/>
                <a:gd name="T39" fmla="*/ 930 h 1107"/>
                <a:gd name="T40" fmla="*/ 854 w 1297"/>
                <a:gd name="T41" fmla="*/ 930 h 1107"/>
                <a:gd name="T42" fmla="*/ 1297 w 1297"/>
                <a:gd name="T43" fmla="*/ 479 h 1107"/>
                <a:gd name="T44" fmla="*/ 1297 w 1297"/>
                <a:gd name="T45" fmla="*/ 450 h 1107"/>
                <a:gd name="T46" fmla="*/ 854 w 1297"/>
                <a:gd name="T47" fmla="*/ 0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97" h="1107">
                  <a:moveTo>
                    <a:pt x="1206" y="479"/>
                  </a:moveTo>
                  <a:cubicBezTo>
                    <a:pt x="1206" y="677"/>
                    <a:pt x="1048" y="839"/>
                    <a:pt x="854" y="839"/>
                  </a:cubicBezTo>
                  <a:cubicBezTo>
                    <a:pt x="443" y="839"/>
                    <a:pt x="443" y="839"/>
                    <a:pt x="443" y="839"/>
                  </a:cubicBezTo>
                  <a:cubicBezTo>
                    <a:pt x="435" y="839"/>
                    <a:pt x="427" y="839"/>
                    <a:pt x="418" y="839"/>
                  </a:cubicBezTo>
                  <a:cubicBezTo>
                    <a:pt x="189" y="937"/>
                    <a:pt x="189" y="937"/>
                    <a:pt x="189" y="937"/>
                  </a:cubicBezTo>
                  <a:cubicBezTo>
                    <a:pt x="251" y="781"/>
                    <a:pt x="251" y="781"/>
                    <a:pt x="251" y="781"/>
                  </a:cubicBezTo>
                  <a:cubicBezTo>
                    <a:pt x="155" y="716"/>
                    <a:pt x="91" y="605"/>
                    <a:pt x="91" y="479"/>
                  </a:cubicBezTo>
                  <a:cubicBezTo>
                    <a:pt x="91" y="450"/>
                    <a:pt x="91" y="450"/>
                    <a:pt x="91" y="450"/>
                  </a:cubicBezTo>
                  <a:cubicBezTo>
                    <a:pt x="91" y="252"/>
                    <a:pt x="249" y="90"/>
                    <a:pt x="443" y="90"/>
                  </a:cubicBezTo>
                  <a:cubicBezTo>
                    <a:pt x="854" y="90"/>
                    <a:pt x="854" y="90"/>
                    <a:pt x="854" y="90"/>
                  </a:cubicBezTo>
                  <a:cubicBezTo>
                    <a:pt x="1047" y="90"/>
                    <a:pt x="1206" y="252"/>
                    <a:pt x="1206" y="450"/>
                  </a:cubicBezTo>
                  <a:lnTo>
                    <a:pt x="1206" y="479"/>
                  </a:lnTo>
                  <a:close/>
                  <a:moveTo>
                    <a:pt x="854" y="0"/>
                  </a:moveTo>
                  <a:cubicBezTo>
                    <a:pt x="443" y="0"/>
                    <a:pt x="443" y="0"/>
                    <a:pt x="443" y="0"/>
                  </a:cubicBezTo>
                  <a:cubicBezTo>
                    <a:pt x="199" y="0"/>
                    <a:pt x="0" y="203"/>
                    <a:pt x="0" y="450"/>
                  </a:cubicBezTo>
                  <a:cubicBezTo>
                    <a:pt x="0" y="479"/>
                    <a:pt x="0" y="479"/>
                    <a:pt x="0" y="479"/>
                  </a:cubicBezTo>
                  <a:cubicBezTo>
                    <a:pt x="0" y="607"/>
                    <a:pt x="53" y="725"/>
                    <a:pt x="142" y="810"/>
                  </a:cubicBezTo>
                  <a:cubicBezTo>
                    <a:pt x="23" y="1107"/>
                    <a:pt x="23" y="1107"/>
                    <a:pt x="23" y="1107"/>
                  </a:cubicBezTo>
                  <a:cubicBezTo>
                    <a:pt x="435" y="930"/>
                    <a:pt x="435" y="930"/>
                    <a:pt x="435" y="930"/>
                  </a:cubicBezTo>
                  <a:cubicBezTo>
                    <a:pt x="438" y="930"/>
                    <a:pt x="440" y="930"/>
                    <a:pt x="443" y="930"/>
                  </a:cubicBezTo>
                  <a:cubicBezTo>
                    <a:pt x="854" y="930"/>
                    <a:pt x="854" y="930"/>
                    <a:pt x="854" y="930"/>
                  </a:cubicBezTo>
                  <a:cubicBezTo>
                    <a:pt x="1098" y="930"/>
                    <a:pt x="1297" y="727"/>
                    <a:pt x="1297" y="479"/>
                  </a:cubicBezTo>
                  <a:cubicBezTo>
                    <a:pt x="1297" y="450"/>
                    <a:pt x="1297" y="450"/>
                    <a:pt x="1297" y="450"/>
                  </a:cubicBezTo>
                  <a:cubicBezTo>
                    <a:pt x="1297" y="203"/>
                    <a:pt x="1098" y="0"/>
                    <a:pt x="854" y="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</p:grpSp>
      <p:sp>
        <p:nvSpPr>
          <p:cNvPr id="97" name="Oval 96">
            <a:extLst>
              <a:ext uri="{FF2B5EF4-FFF2-40B4-BE49-F238E27FC236}">
                <a16:creationId xmlns:a16="http://schemas.microsoft.com/office/drawing/2014/main" id="{35AADA16-754D-4AEF-AE84-9BFB4AE495C5}"/>
              </a:ext>
            </a:extLst>
          </p:cNvPr>
          <p:cNvSpPr/>
          <p:nvPr/>
        </p:nvSpPr>
        <p:spPr bwMode="auto">
          <a:xfrm rot="2765178">
            <a:off x="7271882" y="4452726"/>
            <a:ext cx="557143" cy="557143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20B23DD-4D6B-4DFD-8120-CB954D11D50F}"/>
              </a:ext>
            </a:extLst>
          </p:cNvPr>
          <p:cNvSpPr txBox="1"/>
          <p:nvPr/>
        </p:nvSpPr>
        <p:spPr>
          <a:xfrm>
            <a:off x="7984164" y="4708110"/>
            <a:ext cx="875240" cy="2850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Language </a:t>
            </a:r>
            <a:b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understanding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8924EDE6-9292-4A21-8B10-FF476AB1E09A}"/>
              </a:ext>
            </a:extLst>
          </p:cNvPr>
          <p:cNvGrpSpPr/>
          <p:nvPr/>
        </p:nvGrpSpPr>
        <p:grpSpPr>
          <a:xfrm>
            <a:off x="5713948" y="4516394"/>
            <a:ext cx="557143" cy="557143"/>
            <a:chOff x="5837915" y="4082714"/>
            <a:chExt cx="568324" cy="568324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E5D8A545-2FD2-4CF2-9EB8-F0A7292FFB22}"/>
                </a:ext>
              </a:extLst>
            </p:cNvPr>
            <p:cNvSpPr/>
            <p:nvPr/>
          </p:nvSpPr>
          <p:spPr bwMode="auto">
            <a:xfrm>
              <a:off x="5837915" y="4082714"/>
              <a:ext cx="568324" cy="568324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bg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12" name="Group 23">
              <a:extLst>
                <a:ext uri="{FF2B5EF4-FFF2-40B4-BE49-F238E27FC236}">
                  <a16:creationId xmlns:a16="http://schemas.microsoft.com/office/drawing/2014/main" id="{2769FBF2-C1B5-42DF-999D-336AB7F9D82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80763" y="4226616"/>
              <a:ext cx="279808" cy="280519"/>
              <a:chOff x="0" y="2"/>
              <a:chExt cx="2361" cy="2367"/>
            </a:xfrm>
            <a:solidFill>
              <a:schemeClr val="tx1"/>
            </a:solidFill>
          </p:grpSpPr>
          <p:sp>
            <p:nvSpPr>
              <p:cNvPr id="113" name="Freeform 24">
                <a:extLst>
                  <a:ext uri="{FF2B5EF4-FFF2-40B4-BE49-F238E27FC236}">
                    <a16:creationId xmlns:a16="http://schemas.microsoft.com/office/drawing/2014/main" id="{352A936C-E375-4ECC-ADC6-47CCDF3205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" y="1188"/>
                <a:ext cx="851" cy="1168"/>
              </a:xfrm>
              <a:custGeom>
                <a:avLst/>
                <a:gdLst>
                  <a:gd name="T0" fmla="*/ 224 w 409"/>
                  <a:gd name="T1" fmla="*/ 74 h 561"/>
                  <a:gd name="T2" fmla="*/ 73 w 409"/>
                  <a:gd name="T3" fmla="*/ 137 h 561"/>
                  <a:gd name="T4" fmla="*/ 46 w 409"/>
                  <a:gd name="T5" fmla="*/ 160 h 561"/>
                  <a:gd name="T6" fmla="*/ 46 w 409"/>
                  <a:gd name="T7" fmla="*/ 62 h 561"/>
                  <a:gd name="T8" fmla="*/ 52 w 409"/>
                  <a:gd name="T9" fmla="*/ 57 h 561"/>
                  <a:gd name="T10" fmla="*/ 133 w 409"/>
                  <a:gd name="T11" fmla="*/ 17 h 561"/>
                  <a:gd name="T12" fmla="*/ 229 w 409"/>
                  <a:gd name="T13" fmla="*/ 0 h 561"/>
                  <a:gd name="T14" fmla="*/ 362 w 409"/>
                  <a:gd name="T15" fmla="*/ 54 h 561"/>
                  <a:gd name="T16" fmla="*/ 409 w 409"/>
                  <a:gd name="T17" fmla="*/ 205 h 561"/>
                  <a:gd name="T18" fmla="*/ 409 w 409"/>
                  <a:gd name="T19" fmla="*/ 549 h 561"/>
                  <a:gd name="T20" fmla="*/ 330 w 409"/>
                  <a:gd name="T21" fmla="*/ 549 h 561"/>
                  <a:gd name="T22" fmla="*/ 330 w 409"/>
                  <a:gd name="T23" fmla="*/ 485 h 561"/>
                  <a:gd name="T24" fmla="*/ 284 w 409"/>
                  <a:gd name="T25" fmla="*/ 527 h 561"/>
                  <a:gd name="T26" fmla="*/ 172 w 409"/>
                  <a:gd name="T27" fmla="*/ 561 h 561"/>
                  <a:gd name="T28" fmla="*/ 47 w 409"/>
                  <a:gd name="T29" fmla="*/ 516 h 561"/>
                  <a:gd name="T30" fmla="*/ 0 w 409"/>
                  <a:gd name="T31" fmla="*/ 402 h 561"/>
                  <a:gd name="T32" fmla="*/ 189 w 409"/>
                  <a:gd name="T33" fmla="*/ 227 h 561"/>
                  <a:gd name="T34" fmla="*/ 330 w 409"/>
                  <a:gd name="T35" fmla="*/ 206 h 561"/>
                  <a:gd name="T36" fmla="*/ 224 w 409"/>
                  <a:gd name="T37" fmla="*/ 74 h 561"/>
                  <a:gd name="T38" fmla="*/ 210 w 409"/>
                  <a:gd name="T39" fmla="*/ 298 h 561"/>
                  <a:gd name="T40" fmla="*/ 106 w 409"/>
                  <a:gd name="T41" fmla="*/ 331 h 561"/>
                  <a:gd name="T42" fmla="*/ 81 w 409"/>
                  <a:gd name="T43" fmla="*/ 400 h 561"/>
                  <a:gd name="T44" fmla="*/ 106 w 409"/>
                  <a:gd name="T45" fmla="*/ 462 h 561"/>
                  <a:gd name="T46" fmla="*/ 177 w 409"/>
                  <a:gd name="T47" fmla="*/ 487 h 561"/>
                  <a:gd name="T48" fmla="*/ 286 w 409"/>
                  <a:gd name="T49" fmla="*/ 438 h 561"/>
                  <a:gd name="T50" fmla="*/ 330 w 409"/>
                  <a:gd name="T51" fmla="*/ 310 h 561"/>
                  <a:gd name="T52" fmla="*/ 330 w 409"/>
                  <a:gd name="T53" fmla="*/ 280 h 561"/>
                  <a:gd name="T54" fmla="*/ 210 w 409"/>
                  <a:gd name="T55" fmla="*/ 298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09" h="561">
                    <a:moveTo>
                      <a:pt x="224" y="74"/>
                    </a:moveTo>
                    <a:cubicBezTo>
                      <a:pt x="173" y="74"/>
                      <a:pt x="123" y="95"/>
                      <a:pt x="73" y="137"/>
                    </a:cubicBezTo>
                    <a:cubicBezTo>
                      <a:pt x="46" y="160"/>
                      <a:pt x="46" y="160"/>
                      <a:pt x="46" y="160"/>
                    </a:cubicBezTo>
                    <a:cubicBezTo>
                      <a:pt x="46" y="62"/>
                      <a:pt x="46" y="62"/>
                      <a:pt x="46" y="62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72" y="41"/>
                      <a:pt x="100" y="28"/>
                      <a:pt x="133" y="17"/>
                    </a:cubicBezTo>
                    <a:cubicBezTo>
                      <a:pt x="167" y="6"/>
                      <a:pt x="199" y="0"/>
                      <a:pt x="229" y="0"/>
                    </a:cubicBezTo>
                    <a:cubicBezTo>
                      <a:pt x="285" y="0"/>
                      <a:pt x="330" y="18"/>
                      <a:pt x="362" y="54"/>
                    </a:cubicBezTo>
                    <a:cubicBezTo>
                      <a:pt x="393" y="89"/>
                      <a:pt x="409" y="140"/>
                      <a:pt x="409" y="205"/>
                    </a:cubicBezTo>
                    <a:cubicBezTo>
                      <a:pt x="409" y="549"/>
                      <a:pt x="409" y="549"/>
                      <a:pt x="409" y="549"/>
                    </a:cubicBezTo>
                    <a:cubicBezTo>
                      <a:pt x="330" y="549"/>
                      <a:pt x="330" y="549"/>
                      <a:pt x="330" y="549"/>
                    </a:cubicBezTo>
                    <a:cubicBezTo>
                      <a:pt x="330" y="485"/>
                      <a:pt x="330" y="485"/>
                      <a:pt x="330" y="485"/>
                    </a:cubicBezTo>
                    <a:cubicBezTo>
                      <a:pt x="317" y="502"/>
                      <a:pt x="301" y="516"/>
                      <a:pt x="284" y="527"/>
                    </a:cubicBezTo>
                    <a:cubicBezTo>
                      <a:pt x="250" y="550"/>
                      <a:pt x="213" y="561"/>
                      <a:pt x="172" y="561"/>
                    </a:cubicBezTo>
                    <a:cubicBezTo>
                      <a:pt x="120" y="561"/>
                      <a:pt x="78" y="546"/>
                      <a:pt x="47" y="516"/>
                    </a:cubicBezTo>
                    <a:cubicBezTo>
                      <a:pt x="16" y="486"/>
                      <a:pt x="0" y="448"/>
                      <a:pt x="0" y="402"/>
                    </a:cubicBezTo>
                    <a:cubicBezTo>
                      <a:pt x="0" y="305"/>
                      <a:pt x="65" y="246"/>
                      <a:pt x="189" y="227"/>
                    </a:cubicBezTo>
                    <a:cubicBezTo>
                      <a:pt x="330" y="206"/>
                      <a:pt x="330" y="206"/>
                      <a:pt x="330" y="206"/>
                    </a:cubicBezTo>
                    <a:cubicBezTo>
                      <a:pt x="327" y="116"/>
                      <a:pt x="292" y="74"/>
                      <a:pt x="224" y="74"/>
                    </a:cubicBezTo>
                    <a:close/>
                    <a:moveTo>
                      <a:pt x="210" y="298"/>
                    </a:moveTo>
                    <a:cubicBezTo>
                      <a:pt x="160" y="305"/>
                      <a:pt x="125" y="316"/>
                      <a:pt x="106" y="331"/>
                    </a:cubicBezTo>
                    <a:cubicBezTo>
                      <a:pt x="90" y="344"/>
                      <a:pt x="81" y="367"/>
                      <a:pt x="81" y="400"/>
                    </a:cubicBezTo>
                    <a:cubicBezTo>
                      <a:pt x="81" y="426"/>
                      <a:pt x="89" y="446"/>
                      <a:pt x="106" y="462"/>
                    </a:cubicBezTo>
                    <a:cubicBezTo>
                      <a:pt x="122" y="478"/>
                      <a:pt x="146" y="487"/>
                      <a:pt x="177" y="487"/>
                    </a:cubicBezTo>
                    <a:cubicBezTo>
                      <a:pt x="221" y="487"/>
                      <a:pt x="257" y="471"/>
                      <a:pt x="286" y="438"/>
                    </a:cubicBezTo>
                    <a:cubicBezTo>
                      <a:pt x="316" y="406"/>
                      <a:pt x="330" y="363"/>
                      <a:pt x="330" y="310"/>
                    </a:cubicBezTo>
                    <a:cubicBezTo>
                      <a:pt x="330" y="280"/>
                      <a:pt x="330" y="280"/>
                      <a:pt x="330" y="280"/>
                    </a:cubicBezTo>
                    <a:lnTo>
                      <a:pt x="210" y="298"/>
                    </a:ln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6" tIns="45713" rIns="91426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14">
                  <a:defRPr/>
                </a:pPr>
                <a:endParaRPr lang="en-US" sz="1730">
                  <a:solidFill>
                    <a:srgbClr val="3F3F3F"/>
                  </a:solidFill>
                  <a:latin typeface="Segoe UI"/>
                </a:endParaRPr>
              </a:p>
            </p:txBody>
          </p:sp>
          <p:sp>
            <p:nvSpPr>
              <p:cNvPr id="114" name="Freeform 25">
                <a:extLst>
                  <a:ext uri="{FF2B5EF4-FFF2-40B4-BE49-F238E27FC236}">
                    <a16:creationId xmlns:a16="http://schemas.microsoft.com/office/drawing/2014/main" id="{F1A63A2C-BE21-4892-8C34-9DBECB92F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1665"/>
                <a:ext cx="1048" cy="704"/>
              </a:xfrm>
              <a:custGeom>
                <a:avLst/>
                <a:gdLst>
                  <a:gd name="T0" fmla="*/ 251 w 504"/>
                  <a:gd name="T1" fmla="*/ 153 h 338"/>
                  <a:gd name="T2" fmla="*/ 270 w 504"/>
                  <a:gd name="T3" fmla="*/ 129 h 338"/>
                  <a:gd name="T4" fmla="*/ 145 w 504"/>
                  <a:gd name="T5" fmla="*/ 17 h 338"/>
                  <a:gd name="T6" fmla="*/ 462 w 504"/>
                  <a:gd name="T7" fmla="*/ 0 h 338"/>
                  <a:gd name="T8" fmla="*/ 487 w 504"/>
                  <a:gd name="T9" fmla="*/ 23 h 338"/>
                  <a:gd name="T10" fmla="*/ 504 w 504"/>
                  <a:gd name="T11" fmla="*/ 338 h 338"/>
                  <a:gd name="T12" fmla="*/ 386 w 504"/>
                  <a:gd name="T13" fmla="*/ 233 h 338"/>
                  <a:gd name="T14" fmla="*/ 14 w 504"/>
                  <a:gd name="T15" fmla="*/ 230 h 338"/>
                  <a:gd name="T16" fmla="*/ 0 w 504"/>
                  <a:gd name="T17" fmla="*/ 217 h 338"/>
                  <a:gd name="T18" fmla="*/ 251 w 504"/>
                  <a:gd name="T19" fmla="*/ 153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4" h="338">
                    <a:moveTo>
                      <a:pt x="251" y="153"/>
                    </a:moveTo>
                    <a:cubicBezTo>
                      <a:pt x="258" y="145"/>
                      <a:pt x="264" y="137"/>
                      <a:pt x="270" y="129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462" y="0"/>
                      <a:pt x="462" y="0"/>
                      <a:pt x="462" y="0"/>
                    </a:cubicBezTo>
                    <a:cubicBezTo>
                      <a:pt x="475" y="0"/>
                      <a:pt x="487" y="10"/>
                      <a:pt x="487" y="23"/>
                    </a:cubicBezTo>
                    <a:cubicBezTo>
                      <a:pt x="504" y="338"/>
                      <a:pt x="504" y="338"/>
                      <a:pt x="504" y="338"/>
                    </a:cubicBezTo>
                    <a:cubicBezTo>
                      <a:pt x="386" y="233"/>
                      <a:pt x="386" y="233"/>
                      <a:pt x="386" y="233"/>
                    </a:cubicBezTo>
                    <a:cubicBezTo>
                      <a:pt x="281" y="324"/>
                      <a:pt x="121" y="326"/>
                      <a:pt x="14" y="230"/>
                    </a:cubicBezTo>
                    <a:cubicBezTo>
                      <a:pt x="10" y="226"/>
                      <a:pt x="4" y="221"/>
                      <a:pt x="0" y="217"/>
                    </a:cubicBezTo>
                    <a:cubicBezTo>
                      <a:pt x="86" y="246"/>
                      <a:pt x="186" y="225"/>
                      <a:pt x="251" y="153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6" tIns="45713" rIns="91426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14">
                  <a:defRPr/>
                </a:pPr>
                <a:endParaRPr lang="en-US" sz="1730">
                  <a:solidFill>
                    <a:srgbClr val="3F3F3F"/>
                  </a:solidFill>
                  <a:latin typeface="Segoe UI"/>
                </a:endParaRPr>
              </a:p>
            </p:txBody>
          </p:sp>
          <p:sp>
            <p:nvSpPr>
              <p:cNvPr id="115" name="Freeform 26">
                <a:extLst>
                  <a:ext uri="{FF2B5EF4-FFF2-40B4-BE49-F238E27FC236}">
                    <a16:creationId xmlns:a16="http://schemas.microsoft.com/office/drawing/2014/main" id="{4876BD8A-4FE5-49AD-9D92-6F6607DD34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129"/>
                <a:ext cx="1048" cy="704"/>
              </a:xfrm>
              <a:custGeom>
                <a:avLst/>
                <a:gdLst>
                  <a:gd name="T0" fmla="*/ 253 w 504"/>
                  <a:gd name="T1" fmla="*/ 184 h 338"/>
                  <a:gd name="T2" fmla="*/ 234 w 504"/>
                  <a:gd name="T3" fmla="*/ 209 h 338"/>
                  <a:gd name="T4" fmla="*/ 359 w 504"/>
                  <a:gd name="T5" fmla="*/ 321 h 338"/>
                  <a:gd name="T6" fmla="*/ 42 w 504"/>
                  <a:gd name="T7" fmla="*/ 338 h 338"/>
                  <a:gd name="T8" fmla="*/ 17 w 504"/>
                  <a:gd name="T9" fmla="*/ 314 h 338"/>
                  <a:gd name="T10" fmla="*/ 0 w 504"/>
                  <a:gd name="T11" fmla="*/ 0 h 338"/>
                  <a:gd name="T12" fmla="*/ 118 w 504"/>
                  <a:gd name="T13" fmla="*/ 105 h 338"/>
                  <a:gd name="T14" fmla="*/ 489 w 504"/>
                  <a:gd name="T15" fmla="*/ 107 h 338"/>
                  <a:gd name="T16" fmla="*/ 504 w 504"/>
                  <a:gd name="T17" fmla="*/ 121 h 338"/>
                  <a:gd name="T18" fmla="*/ 253 w 504"/>
                  <a:gd name="T19" fmla="*/ 184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4" h="338">
                    <a:moveTo>
                      <a:pt x="253" y="184"/>
                    </a:moveTo>
                    <a:cubicBezTo>
                      <a:pt x="245" y="192"/>
                      <a:pt x="239" y="201"/>
                      <a:pt x="234" y="209"/>
                    </a:cubicBezTo>
                    <a:cubicBezTo>
                      <a:pt x="359" y="321"/>
                      <a:pt x="359" y="321"/>
                      <a:pt x="359" y="321"/>
                    </a:cubicBezTo>
                    <a:cubicBezTo>
                      <a:pt x="42" y="338"/>
                      <a:pt x="42" y="338"/>
                      <a:pt x="42" y="338"/>
                    </a:cubicBezTo>
                    <a:cubicBezTo>
                      <a:pt x="28" y="338"/>
                      <a:pt x="17" y="328"/>
                      <a:pt x="17" y="31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8" y="105"/>
                      <a:pt x="118" y="105"/>
                      <a:pt x="118" y="105"/>
                    </a:cubicBezTo>
                    <a:cubicBezTo>
                      <a:pt x="223" y="13"/>
                      <a:pt x="382" y="11"/>
                      <a:pt x="489" y="107"/>
                    </a:cubicBezTo>
                    <a:cubicBezTo>
                      <a:pt x="494" y="112"/>
                      <a:pt x="499" y="116"/>
                      <a:pt x="504" y="121"/>
                    </a:cubicBezTo>
                    <a:cubicBezTo>
                      <a:pt x="417" y="91"/>
                      <a:pt x="317" y="113"/>
                      <a:pt x="253" y="184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6" tIns="45713" rIns="91426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14">
                  <a:defRPr/>
                </a:pPr>
                <a:endParaRPr lang="en-US" sz="1730">
                  <a:solidFill>
                    <a:srgbClr val="3F3F3F"/>
                  </a:solidFill>
                  <a:latin typeface="Segoe UI"/>
                </a:endParaRPr>
              </a:p>
            </p:txBody>
          </p:sp>
          <p:sp>
            <p:nvSpPr>
              <p:cNvPr id="116" name="Freeform 27">
                <a:extLst>
                  <a:ext uri="{FF2B5EF4-FFF2-40B4-BE49-F238E27FC236}">
                    <a16:creationId xmlns:a16="http://schemas.microsoft.com/office/drawing/2014/main" id="{2D333C6E-3344-4778-862C-E5707ACA4A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4" y="2"/>
                <a:ext cx="1167" cy="1271"/>
              </a:xfrm>
              <a:custGeom>
                <a:avLst/>
                <a:gdLst>
                  <a:gd name="T0" fmla="*/ 527 w 561"/>
                  <a:gd name="T1" fmla="*/ 78 h 610"/>
                  <a:gd name="T2" fmla="*/ 544 w 561"/>
                  <a:gd name="T3" fmla="*/ 77 h 610"/>
                  <a:gd name="T4" fmla="*/ 548 w 561"/>
                  <a:gd name="T5" fmla="*/ 142 h 610"/>
                  <a:gd name="T6" fmla="*/ 531 w 561"/>
                  <a:gd name="T7" fmla="*/ 143 h 610"/>
                  <a:gd name="T8" fmla="*/ 248 w 561"/>
                  <a:gd name="T9" fmla="*/ 153 h 610"/>
                  <a:gd name="T10" fmla="*/ 244 w 561"/>
                  <a:gd name="T11" fmla="*/ 215 h 610"/>
                  <a:gd name="T12" fmla="*/ 332 w 561"/>
                  <a:gd name="T13" fmla="*/ 207 h 610"/>
                  <a:gd name="T14" fmla="*/ 358 w 561"/>
                  <a:gd name="T15" fmla="*/ 208 h 610"/>
                  <a:gd name="T16" fmla="*/ 369 w 561"/>
                  <a:gd name="T17" fmla="*/ 167 h 610"/>
                  <a:gd name="T18" fmla="*/ 434 w 561"/>
                  <a:gd name="T19" fmla="*/ 182 h 610"/>
                  <a:gd name="T20" fmla="*/ 430 w 561"/>
                  <a:gd name="T21" fmla="*/ 198 h 610"/>
                  <a:gd name="T22" fmla="*/ 424 w 561"/>
                  <a:gd name="T23" fmla="*/ 221 h 610"/>
                  <a:gd name="T24" fmla="*/ 485 w 561"/>
                  <a:gd name="T25" fmla="*/ 252 h 610"/>
                  <a:gd name="T26" fmla="*/ 561 w 561"/>
                  <a:gd name="T27" fmla="*/ 396 h 610"/>
                  <a:gd name="T28" fmla="*/ 498 w 561"/>
                  <a:gd name="T29" fmla="*/ 544 h 610"/>
                  <a:gd name="T30" fmla="*/ 332 w 561"/>
                  <a:gd name="T31" fmla="*/ 608 h 610"/>
                  <a:gd name="T32" fmla="*/ 319 w 561"/>
                  <a:gd name="T33" fmla="*/ 610 h 610"/>
                  <a:gd name="T34" fmla="*/ 294 w 561"/>
                  <a:gd name="T35" fmla="*/ 548 h 610"/>
                  <a:gd name="T36" fmla="*/ 315 w 561"/>
                  <a:gd name="T37" fmla="*/ 545 h 610"/>
                  <a:gd name="T38" fmla="*/ 448 w 561"/>
                  <a:gd name="T39" fmla="*/ 495 h 610"/>
                  <a:gd name="T40" fmla="*/ 493 w 561"/>
                  <a:gd name="T41" fmla="*/ 396 h 610"/>
                  <a:gd name="T42" fmla="*/ 442 w 561"/>
                  <a:gd name="T43" fmla="*/ 303 h 610"/>
                  <a:gd name="T44" fmla="*/ 406 w 561"/>
                  <a:gd name="T45" fmla="*/ 285 h 610"/>
                  <a:gd name="T46" fmla="*/ 335 w 561"/>
                  <a:gd name="T47" fmla="*/ 438 h 610"/>
                  <a:gd name="T48" fmla="*/ 114 w 561"/>
                  <a:gd name="T49" fmla="*/ 580 h 610"/>
                  <a:gd name="T50" fmla="*/ 29 w 561"/>
                  <a:gd name="T51" fmla="*/ 546 h 610"/>
                  <a:gd name="T52" fmla="*/ 0 w 561"/>
                  <a:gd name="T53" fmla="*/ 457 h 610"/>
                  <a:gd name="T54" fmla="*/ 93 w 561"/>
                  <a:gd name="T55" fmla="*/ 284 h 610"/>
                  <a:gd name="T56" fmla="*/ 175 w 561"/>
                  <a:gd name="T57" fmla="*/ 236 h 610"/>
                  <a:gd name="T58" fmla="*/ 179 w 561"/>
                  <a:gd name="T59" fmla="*/ 154 h 610"/>
                  <a:gd name="T60" fmla="*/ 115 w 561"/>
                  <a:gd name="T61" fmla="*/ 155 h 610"/>
                  <a:gd name="T62" fmla="*/ 27 w 561"/>
                  <a:gd name="T63" fmla="*/ 155 h 610"/>
                  <a:gd name="T64" fmla="*/ 10 w 561"/>
                  <a:gd name="T65" fmla="*/ 155 h 610"/>
                  <a:gd name="T66" fmla="*/ 10 w 561"/>
                  <a:gd name="T67" fmla="*/ 89 h 610"/>
                  <a:gd name="T68" fmla="*/ 27 w 561"/>
                  <a:gd name="T69" fmla="*/ 89 h 610"/>
                  <a:gd name="T70" fmla="*/ 117 w 561"/>
                  <a:gd name="T71" fmla="*/ 89 h 610"/>
                  <a:gd name="T72" fmla="*/ 186 w 561"/>
                  <a:gd name="T73" fmla="*/ 88 h 610"/>
                  <a:gd name="T74" fmla="*/ 198 w 561"/>
                  <a:gd name="T75" fmla="*/ 17 h 610"/>
                  <a:gd name="T76" fmla="*/ 201 w 561"/>
                  <a:gd name="T77" fmla="*/ 0 h 610"/>
                  <a:gd name="T78" fmla="*/ 268 w 561"/>
                  <a:gd name="T79" fmla="*/ 16 h 610"/>
                  <a:gd name="T80" fmla="*/ 265 w 561"/>
                  <a:gd name="T81" fmla="*/ 31 h 610"/>
                  <a:gd name="T82" fmla="*/ 255 w 561"/>
                  <a:gd name="T83" fmla="*/ 87 h 610"/>
                  <a:gd name="T84" fmla="*/ 527 w 561"/>
                  <a:gd name="T85" fmla="*/ 78 h 610"/>
                  <a:gd name="T86" fmla="*/ 332 w 561"/>
                  <a:gd name="T87" fmla="*/ 273 h 610"/>
                  <a:gd name="T88" fmla="*/ 242 w 561"/>
                  <a:gd name="T89" fmla="*/ 283 h 610"/>
                  <a:gd name="T90" fmla="*/ 242 w 561"/>
                  <a:gd name="T91" fmla="*/ 285 h 610"/>
                  <a:gd name="T92" fmla="*/ 252 w 561"/>
                  <a:gd name="T93" fmla="*/ 438 h 610"/>
                  <a:gd name="T94" fmla="*/ 277 w 561"/>
                  <a:gd name="T95" fmla="*/ 403 h 610"/>
                  <a:gd name="T96" fmla="*/ 339 w 561"/>
                  <a:gd name="T97" fmla="*/ 273 h 610"/>
                  <a:gd name="T98" fmla="*/ 332 w 561"/>
                  <a:gd name="T99" fmla="*/ 273 h 610"/>
                  <a:gd name="T100" fmla="*/ 137 w 561"/>
                  <a:gd name="T101" fmla="*/ 335 h 610"/>
                  <a:gd name="T102" fmla="*/ 68 w 561"/>
                  <a:gd name="T103" fmla="*/ 457 h 610"/>
                  <a:gd name="T104" fmla="*/ 114 w 561"/>
                  <a:gd name="T105" fmla="*/ 514 h 610"/>
                  <a:gd name="T106" fmla="*/ 192 w 561"/>
                  <a:gd name="T107" fmla="*/ 493 h 610"/>
                  <a:gd name="T108" fmla="*/ 174 w 561"/>
                  <a:gd name="T109" fmla="*/ 311 h 610"/>
                  <a:gd name="T110" fmla="*/ 137 w 561"/>
                  <a:gd name="T111" fmla="*/ 335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61" h="610">
                    <a:moveTo>
                      <a:pt x="527" y="78"/>
                    </a:moveTo>
                    <a:cubicBezTo>
                      <a:pt x="544" y="77"/>
                      <a:pt x="544" y="77"/>
                      <a:pt x="544" y="77"/>
                    </a:cubicBezTo>
                    <a:cubicBezTo>
                      <a:pt x="548" y="142"/>
                      <a:pt x="548" y="142"/>
                      <a:pt x="548" y="142"/>
                    </a:cubicBezTo>
                    <a:cubicBezTo>
                      <a:pt x="531" y="143"/>
                      <a:pt x="531" y="143"/>
                      <a:pt x="531" y="143"/>
                    </a:cubicBezTo>
                    <a:cubicBezTo>
                      <a:pt x="457" y="148"/>
                      <a:pt x="364" y="151"/>
                      <a:pt x="248" y="153"/>
                    </a:cubicBezTo>
                    <a:cubicBezTo>
                      <a:pt x="246" y="173"/>
                      <a:pt x="245" y="193"/>
                      <a:pt x="244" y="215"/>
                    </a:cubicBezTo>
                    <a:cubicBezTo>
                      <a:pt x="271" y="210"/>
                      <a:pt x="300" y="207"/>
                      <a:pt x="332" y="207"/>
                    </a:cubicBezTo>
                    <a:cubicBezTo>
                      <a:pt x="341" y="207"/>
                      <a:pt x="350" y="208"/>
                      <a:pt x="358" y="208"/>
                    </a:cubicBezTo>
                    <a:cubicBezTo>
                      <a:pt x="369" y="167"/>
                      <a:pt x="369" y="167"/>
                      <a:pt x="369" y="167"/>
                    </a:cubicBezTo>
                    <a:cubicBezTo>
                      <a:pt x="434" y="182"/>
                      <a:pt x="434" y="182"/>
                      <a:pt x="434" y="182"/>
                    </a:cubicBezTo>
                    <a:cubicBezTo>
                      <a:pt x="430" y="198"/>
                      <a:pt x="430" y="198"/>
                      <a:pt x="430" y="198"/>
                    </a:cubicBezTo>
                    <a:cubicBezTo>
                      <a:pt x="428" y="206"/>
                      <a:pt x="427" y="212"/>
                      <a:pt x="424" y="221"/>
                    </a:cubicBezTo>
                    <a:cubicBezTo>
                      <a:pt x="446" y="228"/>
                      <a:pt x="467" y="239"/>
                      <a:pt x="485" y="252"/>
                    </a:cubicBezTo>
                    <a:cubicBezTo>
                      <a:pt x="536" y="287"/>
                      <a:pt x="561" y="335"/>
                      <a:pt x="561" y="396"/>
                    </a:cubicBezTo>
                    <a:cubicBezTo>
                      <a:pt x="561" y="458"/>
                      <a:pt x="540" y="508"/>
                      <a:pt x="498" y="544"/>
                    </a:cubicBezTo>
                    <a:cubicBezTo>
                      <a:pt x="459" y="577"/>
                      <a:pt x="403" y="599"/>
                      <a:pt x="332" y="608"/>
                    </a:cubicBezTo>
                    <a:cubicBezTo>
                      <a:pt x="319" y="610"/>
                      <a:pt x="319" y="610"/>
                      <a:pt x="319" y="610"/>
                    </a:cubicBezTo>
                    <a:cubicBezTo>
                      <a:pt x="294" y="548"/>
                      <a:pt x="294" y="548"/>
                      <a:pt x="294" y="548"/>
                    </a:cubicBezTo>
                    <a:cubicBezTo>
                      <a:pt x="315" y="545"/>
                      <a:pt x="315" y="545"/>
                      <a:pt x="315" y="545"/>
                    </a:cubicBezTo>
                    <a:cubicBezTo>
                      <a:pt x="374" y="537"/>
                      <a:pt x="418" y="521"/>
                      <a:pt x="448" y="495"/>
                    </a:cubicBezTo>
                    <a:cubicBezTo>
                      <a:pt x="478" y="469"/>
                      <a:pt x="493" y="437"/>
                      <a:pt x="493" y="396"/>
                    </a:cubicBezTo>
                    <a:cubicBezTo>
                      <a:pt x="493" y="356"/>
                      <a:pt x="476" y="325"/>
                      <a:pt x="442" y="303"/>
                    </a:cubicBezTo>
                    <a:cubicBezTo>
                      <a:pt x="430" y="295"/>
                      <a:pt x="419" y="289"/>
                      <a:pt x="406" y="285"/>
                    </a:cubicBezTo>
                    <a:cubicBezTo>
                      <a:pt x="386" y="343"/>
                      <a:pt x="363" y="394"/>
                      <a:pt x="335" y="438"/>
                    </a:cubicBezTo>
                    <a:cubicBezTo>
                      <a:pt x="275" y="532"/>
                      <a:pt x="201" y="580"/>
                      <a:pt x="114" y="580"/>
                    </a:cubicBezTo>
                    <a:cubicBezTo>
                      <a:pt x="78" y="580"/>
                      <a:pt x="49" y="568"/>
                      <a:pt x="29" y="546"/>
                    </a:cubicBezTo>
                    <a:cubicBezTo>
                      <a:pt x="9" y="525"/>
                      <a:pt x="0" y="494"/>
                      <a:pt x="0" y="457"/>
                    </a:cubicBezTo>
                    <a:cubicBezTo>
                      <a:pt x="0" y="390"/>
                      <a:pt x="31" y="333"/>
                      <a:pt x="93" y="284"/>
                    </a:cubicBezTo>
                    <a:cubicBezTo>
                      <a:pt x="118" y="264"/>
                      <a:pt x="145" y="248"/>
                      <a:pt x="175" y="236"/>
                    </a:cubicBezTo>
                    <a:cubicBezTo>
                      <a:pt x="175" y="208"/>
                      <a:pt x="177" y="180"/>
                      <a:pt x="179" y="154"/>
                    </a:cubicBezTo>
                    <a:cubicBezTo>
                      <a:pt x="164" y="154"/>
                      <a:pt x="147" y="154"/>
                      <a:pt x="115" y="155"/>
                    </a:cubicBezTo>
                    <a:cubicBezTo>
                      <a:pt x="74" y="155"/>
                      <a:pt x="52" y="155"/>
                      <a:pt x="27" y="155"/>
                    </a:cubicBezTo>
                    <a:cubicBezTo>
                      <a:pt x="10" y="155"/>
                      <a:pt x="10" y="155"/>
                      <a:pt x="10" y="155"/>
                    </a:cubicBezTo>
                    <a:cubicBezTo>
                      <a:pt x="10" y="89"/>
                      <a:pt x="10" y="89"/>
                      <a:pt x="10" y="89"/>
                    </a:cubicBezTo>
                    <a:cubicBezTo>
                      <a:pt x="27" y="89"/>
                      <a:pt x="27" y="89"/>
                      <a:pt x="27" y="89"/>
                    </a:cubicBezTo>
                    <a:cubicBezTo>
                      <a:pt x="53" y="89"/>
                      <a:pt x="75" y="89"/>
                      <a:pt x="117" y="89"/>
                    </a:cubicBezTo>
                    <a:cubicBezTo>
                      <a:pt x="152" y="88"/>
                      <a:pt x="170" y="88"/>
                      <a:pt x="186" y="88"/>
                    </a:cubicBezTo>
                    <a:cubicBezTo>
                      <a:pt x="189" y="66"/>
                      <a:pt x="193" y="43"/>
                      <a:pt x="198" y="17"/>
                    </a:cubicBezTo>
                    <a:cubicBezTo>
                      <a:pt x="201" y="0"/>
                      <a:pt x="201" y="0"/>
                      <a:pt x="201" y="0"/>
                    </a:cubicBezTo>
                    <a:cubicBezTo>
                      <a:pt x="268" y="16"/>
                      <a:pt x="268" y="16"/>
                      <a:pt x="268" y="16"/>
                    </a:cubicBezTo>
                    <a:cubicBezTo>
                      <a:pt x="265" y="31"/>
                      <a:pt x="265" y="31"/>
                      <a:pt x="265" y="31"/>
                    </a:cubicBezTo>
                    <a:cubicBezTo>
                      <a:pt x="261" y="50"/>
                      <a:pt x="258" y="68"/>
                      <a:pt x="255" y="87"/>
                    </a:cubicBezTo>
                    <a:cubicBezTo>
                      <a:pt x="366" y="85"/>
                      <a:pt x="457" y="82"/>
                      <a:pt x="527" y="78"/>
                    </a:cubicBezTo>
                    <a:moveTo>
                      <a:pt x="332" y="273"/>
                    </a:moveTo>
                    <a:cubicBezTo>
                      <a:pt x="299" y="273"/>
                      <a:pt x="269" y="276"/>
                      <a:pt x="242" y="283"/>
                    </a:cubicBezTo>
                    <a:cubicBezTo>
                      <a:pt x="242" y="285"/>
                      <a:pt x="242" y="285"/>
                      <a:pt x="242" y="285"/>
                    </a:cubicBezTo>
                    <a:cubicBezTo>
                      <a:pt x="242" y="342"/>
                      <a:pt x="245" y="393"/>
                      <a:pt x="252" y="438"/>
                    </a:cubicBezTo>
                    <a:cubicBezTo>
                      <a:pt x="260" y="428"/>
                      <a:pt x="269" y="416"/>
                      <a:pt x="277" y="403"/>
                    </a:cubicBezTo>
                    <a:cubicBezTo>
                      <a:pt x="302" y="365"/>
                      <a:pt x="322" y="321"/>
                      <a:pt x="339" y="273"/>
                    </a:cubicBezTo>
                    <a:cubicBezTo>
                      <a:pt x="337" y="273"/>
                      <a:pt x="335" y="273"/>
                      <a:pt x="332" y="273"/>
                    </a:cubicBezTo>
                    <a:moveTo>
                      <a:pt x="137" y="335"/>
                    </a:moveTo>
                    <a:cubicBezTo>
                      <a:pt x="91" y="372"/>
                      <a:pt x="68" y="413"/>
                      <a:pt x="68" y="457"/>
                    </a:cubicBezTo>
                    <a:cubicBezTo>
                      <a:pt x="68" y="498"/>
                      <a:pt x="82" y="514"/>
                      <a:pt x="114" y="514"/>
                    </a:cubicBezTo>
                    <a:cubicBezTo>
                      <a:pt x="140" y="514"/>
                      <a:pt x="166" y="507"/>
                      <a:pt x="192" y="493"/>
                    </a:cubicBezTo>
                    <a:cubicBezTo>
                      <a:pt x="181" y="440"/>
                      <a:pt x="175" y="379"/>
                      <a:pt x="174" y="311"/>
                    </a:cubicBezTo>
                    <a:cubicBezTo>
                      <a:pt x="161" y="318"/>
                      <a:pt x="149" y="326"/>
                      <a:pt x="137" y="335"/>
                    </a:cubicBez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6" tIns="45713" rIns="91426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214">
                  <a:defRPr/>
                </a:pPr>
                <a:endParaRPr lang="en-US" sz="1730">
                  <a:solidFill>
                    <a:srgbClr val="3F3F3F"/>
                  </a:solidFill>
                  <a:latin typeface="Segoe UI"/>
                </a:endParaRPr>
              </a:p>
            </p:txBody>
          </p:sp>
        </p:grpSp>
      </p:grpSp>
      <p:sp>
        <p:nvSpPr>
          <p:cNvPr id="117" name="TextBox 116">
            <a:extLst>
              <a:ext uri="{FF2B5EF4-FFF2-40B4-BE49-F238E27FC236}">
                <a16:creationId xmlns:a16="http://schemas.microsoft.com/office/drawing/2014/main" id="{010D1232-C9AA-4DAB-8C36-A11F0180F548}"/>
              </a:ext>
            </a:extLst>
          </p:cNvPr>
          <p:cNvSpPr txBox="1"/>
          <p:nvPr/>
        </p:nvSpPr>
        <p:spPr>
          <a:xfrm>
            <a:off x="5014263" y="4756002"/>
            <a:ext cx="601126" cy="1425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ranslator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5BEC6ECD-B804-4A7A-BE97-5ED96CA640ED}"/>
              </a:ext>
            </a:extLst>
          </p:cNvPr>
          <p:cNvSpPr txBox="1"/>
          <p:nvPr/>
        </p:nvSpPr>
        <p:spPr>
          <a:xfrm>
            <a:off x="4461669" y="4145554"/>
            <a:ext cx="862086" cy="1425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 err="1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QnA</a:t>
            </a: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 Maker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8117266-47FB-45DC-8378-40A4CBE7F204}"/>
              </a:ext>
            </a:extLst>
          </p:cNvPr>
          <p:cNvGrpSpPr/>
          <p:nvPr/>
        </p:nvGrpSpPr>
        <p:grpSpPr>
          <a:xfrm>
            <a:off x="4622996" y="3489890"/>
            <a:ext cx="557143" cy="557143"/>
            <a:chOff x="7799773" y="3994872"/>
            <a:chExt cx="568324" cy="568324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695E8758-894A-4135-BB36-373CE7C95278}"/>
                </a:ext>
              </a:extLst>
            </p:cNvPr>
            <p:cNvSpPr/>
            <p:nvPr/>
          </p:nvSpPr>
          <p:spPr bwMode="auto">
            <a:xfrm>
              <a:off x="7799773" y="3994872"/>
              <a:ext cx="568324" cy="568324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bg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9" name="Freeform 23">
              <a:extLst>
                <a:ext uri="{FF2B5EF4-FFF2-40B4-BE49-F238E27FC236}">
                  <a16:creationId xmlns:a16="http://schemas.microsoft.com/office/drawing/2014/main" id="{F0AC2E40-9AA1-4BF9-A1E6-8B7E8C586C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41625" y="4148234"/>
              <a:ext cx="284621" cy="261601"/>
            </a:xfrm>
            <a:custGeom>
              <a:avLst/>
              <a:gdLst>
                <a:gd name="T0" fmla="*/ 1142 w 1308"/>
                <a:gd name="T1" fmla="*/ 686 h 1200"/>
                <a:gd name="T2" fmla="*/ 982 w 1308"/>
                <a:gd name="T3" fmla="*/ 616 h 1200"/>
                <a:gd name="T4" fmla="*/ 965 w 1308"/>
                <a:gd name="T5" fmla="*/ 617 h 1200"/>
                <a:gd name="T6" fmla="*/ 958 w 1308"/>
                <a:gd name="T7" fmla="*/ 617 h 1200"/>
                <a:gd name="T8" fmla="*/ 629 w 1308"/>
                <a:gd name="T9" fmla="*/ 343 h 1200"/>
                <a:gd name="T10" fmla="*/ 434 w 1308"/>
                <a:gd name="T11" fmla="*/ 343 h 1200"/>
                <a:gd name="T12" fmla="*/ 679 w 1308"/>
                <a:gd name="T13" fmla="*/ 91 h 1200"/>
                <a:gd name="T14" fmla="*/ 965 w 1308"/>
                <a:gd name="T15" fmla="*/ 91 h 1200"/>
                <a:gd name="T16" fmla="*/ 1210 w 1308"/>
                <a:gd name="T17" fmla="*/ 344 h 1200"/>
                <a:gd name="T18" fmla="*/ 1210 w 1308"/>
                <a:gd name="T19" fmla="*/ 364 h 1200"/>
                <a:gd name="T20" fmla="*/ 1098 w 1308"/>
                <a:gd name="T21" fmla="*/ 576 h 1200"/>
                <a:gd name="T22" fmla="*/ 1142 w 1308"/>
                <a:gd name="T23" fmla="*/ 686 h 1200"/>
                <a:gd name="T24" fmla="*/ 629 w 1308"/>
                <a:gd name="T25" fmla="*/ 960 h 1200"/>
                <a:gd name="T26" fmla="*/ 343 w 1308"/>
                <a:gd name="T27" fmla="*/ 960 h 1200"/>
                <a:gd name="T28" fmla="*/ 326 w 1308"/>
                <a:gd name="T29" fmla="*/ 959 h 1200"/>
                <a:gd name="T30" fmla="*/ 166 w 1308"/>
                <a:gd name="T31" fmla="*/ 1028 h 1200"/>
                <a:gd name="T32" fmla="*/ 210 w 1308"/>
                <a:gd name="T33" fmla="*/ 919 h 1200"/>
                <a:gd name="T34" fmla="*/ 98 w 1308"/>
                <a:gd name="T35" fmla="*/ 707 h 1200"/>
                <a:gd name="T36" fmla="*/ 98 w 1308"/>
                <a:gd name="T37" fmla="*/ 687 h 1200"/>
                <a:gd name="T38" fmla="*/ 343 w 1308"/>
                <a:gd name="T39" fmla="*/ 434 h 1200"/>
                <a:gd name="T40" fmla="*/ 350 w 1308"/>
                <a:gd name="T41" fmla="*/ 434 h 1200"/>
                <a:gd name="T42" fmla="*/ 444 w 1308"/>
                <a:gd name="T43" fmla="*/ 434 h 1200"/>
                <a:gd name="T44" fmla="*/ 629 w 1308"/>
                <a:gd name="T45" fmla="*/ 434 h 1200"/>
                <a:gd name="T46" fmla="*/ 864 w 1308"/>
                <a:gd name="T47" fmla="*/ 617 h 1200"/>
                <a:gd name="T48" fmla="*/ 874 w 1308"/>
                <a:gd name="T49" fmla="*/ 687 h 1200"/>
                <a:gd name="T50" fmla="*/ 874 w 1308"/>
                <a:gd name="T51" fmla="*/ 707 h 1200"/>
                <a:gd name="T52" fmla="*/ 874 w 1308"/>
                <a:gd name="T53" fmla="*/ 709 h 1200"/>
                <a:gd name="T54" fmla="*/ 629 w 1308"/>
                <a:gd name="T55" fmla="*/ 960 h 1200"/>
                <a:gd name="T56" fmla="*/ 1207 w 1308"/>
                <a:gd name="T57" fmla="*/ 603 h 1200"/>
                <a:gd name="T58" fmla="*/ 1301 w 1308"/>
                <a:gd name="T59" fmla="*/ 364 h 1200"/>
                <a:gd name="T60" fmla="*/ 1301 w 1308"/>
                <a:gd name="T61" fmla="*/ 344 h 1200"/>
                <a:gd name="T62" fmla="*/ 965 w 1308"/>
                <a:gd name="T63" fmla="*/ 0 h 1200"/>
                <a:gd name="T64" fmla="*/ 679 w 1308"/>
                <a:gd name="T65" fmla="*/ 0 h 1200"/>
                <a:gd name="T66" fmla="*/ 343 w 1308"/>
                <a:gd name="T67" fmla="*/ 343 h 1200"/>
                <a:gd name="T68" fmla="*/ 7 w 1308"/>
                <a:gd name="T69" fmla="*/ 687 h 1200"/>
                <a:gd name="T70" fmla="*/ 7 w 1308"/>
                <a:gd name="T71" fmla="*/ 707 h 1200"/>
                <a:gd name="T72" fmla="*/ 101 w 1308"/>
                <a:gd name="T73" fmla="*/ 946 h 1200"/>
                <a:gd name="T74" fmla="*/ 0 w 1308"/>
                <a:gd name="T75" fmla="*/ 1200 h 1200"/>
                <a:gd name="T76" fmla="*/ 343 w 1308"/>
                <a:gd name="T77" fmla="*/ 1051 h 1200"/>
                <a:gd name="T78" fmla="*/ 629 w 1308"/>
                <a:gd name="T79" fmla="*/ 1051 h 1200"/>
                <a:gd name="T80" fmla="*/ 965 w 1308"/>
                <a:gd name="T81" fmla="*/ 709 h 1200"/>
                <a:gd name="T82" fmla="*/ 1308 w 1308"/>
                <a:gd name="T83" fmla="*/ 857 h 1200"/>
                <a:gd name="T84" fmla="*/ 1207 w 1308"/>
                <a:gd name="T85" fmla="*/ 603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08" h="1200">
                  <a:moveTo>
                    <a:pt x="1142" y="686"/>
                  </a:moveTo>
                  <a:cubicBezTo>
                    <a:pt x="982" y="616"/>
                    <a:pt x="982" y="616"/>
                    <a:pt x="982" y="616"/>
                  </a:cubicBezTo>
                  <a:cubicBezTo>
                    <a:pt x="976" y="617"/>
                    <a:pt x="971" y="617"/>
                    <a:pt x="965" y="617"/>
                  </a:cubicBezTo>
                  <a:cubicBezTo>
                    <a:pt x="958" y="617"/>
                    <a:pt x="958" y="617"/>
                    <a:pt x="958" y="617"/>
                  </a:cubicBezTo>
                  <a:cubicBezTo>
                    <a:pt x="927" y="461"/>
                    <a:pt x="791" y="343"/>
                    <a:pt x="629" y="343"/>
                  </a:cubicBezTo>
                  <a:cubicBezTo>
                    <a:pt x="434" y="343"/>
                    <a:pt x="434" y="343"/>
                    <a:pt x="434" y="343"/>
                  </a:cubicBezTo>
                  <a:cubicBezTo>
                    <a:pt x="435" y="204"/>
                    <a:pt x="545" y="91"/>
                    <a:pt x="679" y="91"/>
                  </a:cubicBezTo>
                  <a:cubicBezTo>
                    <a:pt x="965" y="91"/>
                    <a:pt x="965" y="91"/>
                    <a:pt x="965" y="91"/>
                  </a:cubicBezTo>
                  <a:cubicBezTo>
                    <a:pt x="1100" y="91"/>
                    <a:pt x="1210" y="205"/>
                    <a:pt x="1210" y="344"/>
                  </a:cubicBezTo>
                  <a:cubicBezTo>
                    <a:pt x="1210" y="364"/>
                    <a:pt x="1210" y="364"/>
                    <a:pt x="1210" y="364"/>
                  </a:cubicBezTo>
                  <a:cubicBezTo>
                    <a:pt x="1210" y="453"/>
                    <a:pt x="1165" y="531"/>
                    <a:pt x="1098" y="576"/>
                  </a:cubicBezTo>
                  <a:lnTo>
                    <a:pt x="1142" y="686"/>
                  </a:lnTo>
                  <a:close/>
                  <a:moveTo>
                    <a:pt x="629" y="960"/>
                  </a:moveTo>
                  <a:cubicBezTo>
                    <a:pt x="343" y="960"/>
                    <a:pt x="343" y="960"/>
                    <a:pt x="343" y="960"/>
                  </a:cubicBezTo>
                  <a:cubicBezTo>
                    <a:pt x="337" y="960"/>
                    <a:pt x="332" y="960"/>
                    <a:pt x="326" y="959"/>
                  </a:cubicBezTo>
                  <a:cubicBezTo>
                    <a:pt x="166" y="1028"/>
                    <a:pt x="166" y="1028"/>
                    <a:pt x="166" y="1028"/>
                  </a:cubicBezTo>
                  <a:cubicBezTo>
                    <a:pt x="210" y="919"/>
                    <a:pt x="210" y="919"/>
                    <a:pt x="210" y="919"/>
                  </a:cubicBezTo>
                  <a:cubicBezTo>
                    <a:pt x="143" y="874"/>
                    <a:pt x="98" y="795"/>
                    <a:pt x="98" y="707"/>
                  </a:cubicBezTo>
                  <a:cubicBezTo>
                    <a:pt x="98" y="687"/>
                    <a:pt x="98" y="687"/>
                    <a:pt x="98" y="687"/>
                  </a:cubicBezTo>
                  <a:cubicBezTo>
                    <a:pt x="98" y="548"/>
                    <a:pt x="208" y="434"/>
                    <a:pt x="343" y="434"/>
                  </a:cubicBezTo>
                  <a:cubicBezTo>
                    <a:pt x="350" y="434"/>
                    <a:pt x="350" y="434"/>
                    <a:pt x="350" y="434"/>
                  </a:cubicBezTo>
                  <a:cubicBezTo>
                    <a:pt x="444" y="434"/>
                    <a:pt x="444" y="434"/>
                    <a:pt x="444" y="434"/>
                  </a:cubicBezTo>
                  <a:cubicBezTo>
                    <a:pt x="629" y="434"/>
                    <a:pt x="629" y="434"/>
                    <a:pt x="629" y="434"/>
                  </a:cubicBezTo>
                  <a:cubicBezTo>
                    <a:pt x="740" y="434"/>
                    <a:pt x="835" y="512"/>
                    <a:pt x="864" y="617"/>
                  </a:cubicBezTo>
                  <a:cubicBezTo>
                    <a:pt x="871" y="639"/>
                    <a:pt x="874" y="663"/>
                    <a:pt x="874" y="687"/>
                  </a:cubicBezTo>
                  <a:cubicBezTo>
                    <a:pt x="874" y="707"/>
                    <a:pt x="874" y="707"/>
                    <a:pt x="874" y="707"/>
                  </a:cubicBezTo>
                  <a:cubicBezTo>
                    <a:pt x="874" y="708"/>
                    <a:pt x="874" y="708"/>
                    <a:pt x="874" y="709"/>
                  </a:cubicBezTo>
                  <a:cubicBezTo>
                    <a:pt x="873" y="847"/>
                    <a:pt x="763" y="960"/>
                    <a:pt x="629" y="960"/>
                  </a:cubicBezTo>
                  <a:close/>
                  <a:moveTo>
                    <a:pt x="1207" y="603"/>
                  </a:moveTo>
                  <a:cubicBezTo>
                    <a:pt x="1267" y="540"/>
                    <a:pt x="1301" y="455"/>
                    <a:pt x="1301" y="364"/>
                  </a:cubicBezTo>
                  <a:cubicBezTo>
                    <a:pt x="1301" y="344"/>
                    <a:pt x="1301" y="344"/>
                    <a:pt x="1301" y="344"/>
                  </a:cubicBezTo>
                  <a:cubicBezTo>
                    <a:pt x="1301" y="155"/>
                    <a:pt x="1151" y="0"/>
                    <a:pt x="965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494" y="0"/>
                    <a:pt x="343" y="155"/>
                    <a:pt x="343" y="343"/>
                  </a:cubicBezTo>
                  <a:cubicBezTo>
                    <a:pt x="157" y="343"/>
                    <a:pt x="7" y="498"/>
                    <a:pt x="7" y="687"/>
                  </a:cubicBezTo>
                  <a:cubicBezTo>
                    <a:pt x="7" y="707"/>
                    <a:pt x="7" y="707"/>
                    <a:pt x="7" y="707"/>
                  </a:cubicBezTo>
                  <a:cubicBezTo>
                    <a:pt x="7" y="798"/>
                    <a:pt x="41" y="882"/>
                    <a:pt x="101" y="946"/>
                  </a:cubicBezTo>
                  <a:cubicBezTo>
                    <a:pt x="0" y="1200"/>
                    <a:pt x="0" y="1200"/>
                    <a:pt x="0" y="1200"/>
                  </a:cubicBezTo>
                  <a:cubicBezTo>
                    <a:pt x="343" y="1051"/>
                    <a:pt x="343" y="1051"/>
                    <a:pt x="343" y="1051"/>
                  </a:cubicBezTo>
                  <a:cubicBezTo>
                    <a:pt x="629" y="1051"/>
                    <a:pt x="629" y="1051"/>
                    <a:pt x="629" y="1051"/>
                  </a:cubicBezTo>
                  <a:cubicBezTo>
                    <a:pt x="814" y="1051"/>
                    <a:pt x="965" y="897"/>
                    <a:pt x="965" y="709"/>
                  </a:cubicBezTo>
                  <a:cubicBezTo>
                    <a:pt x="1308" y="857"/>
                    <a:pt x="1308" y="857"/>
                    <a:pt x="1308" y="857"/>
                  </a:cubicBezTo>
                  <a:lnTo>
                    <a:pt x="1207" y="603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C4163997-4615-43B7-A232-F8E36D3BE752}"/>
              </a:ext>
            </a:extLst>
          </p:cNvPr>
          <p:cNvGrpSpPr/>
          <p:nvPr/>
        </p:nvGrpSpPr>
        <p:grpSpPr>
          <a:xfrm>
            <a:off x="6032970" y="1974928"/>
            <a:ext cx="557143" cy="557143"/>
            <a:chOff x="6107904" y="1703606"/>
            <a:chExt cx="568324" cy="568324"/>
          </a:xfrm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8FE482BF-982E-410A-A58E-70DE89C433AD}"/>
                </a:ext>
              </a:extLst>
            </p:cNvPr>
            <p:cNvSpPr/>
            <p:nvPr/>
          </p:nvSpPr>
          <p:spPr bwMode="auto">
            <a:xfrm rot="1291740">
              <a:off x="6107904" y="1703606"/>
              <a:ext cx="568324" cy="568324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bg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1" name="Freeform 34">
              <a:extLst>
                <a:ext uri="{FF2B5EF4-FFF2-40B4-BE49-F238E27FC236}">
                  <a16:creationId xmlns:a16="http://schemas.microsoft.com/office/drawing/2014/main" id="{4A3D34A6-DFE5-48BE-8B8F-622DD08A11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5506" y="1826807"/>
              <a:ext cx="313121" cy="321923"/>
            </a:xfrm>
            <a:custGeom>
              <a:avLst/>
              <a:gdLst>
                <a:gd name="T0" fmla="*/ 634 w 1043"/>
                <a:gd name="T1" fmla="*/ 729 h 1070"/>
                <a:gd name="T2" fmla="*/ 315 w 1043"/>
                <a:gd name="T3" fmla="*/ 410 h 1070"/>
                <a:gd name="T4" fmla="*/ 634 w 1043"/>
                <a:gd name="T5" fmla="*/ 91 h 1070"/>
                <a:gd name="T6" fmla="*/ 952 w 1043"/>
                <a:gd name="T7" fmla="*/ 410 h 1070"/>
                <a:gd name="T8" fmla="*/ 634 w 1043"/>
                <a:gd name="T9" fmla="*/ 729 h 1070"/>
                <a:gd name="T10" fmla="*/ 634 w 1043"/>
                <a:gd name="T11" fmla="*/ 0 h 1070"/>
                <a:gd name="T12" fmla="*/ 224 w 1043"/>
                <a:gd name="T13" fmla="*/ 410 h 1070"/>
                <a:gd name="T14" fmla="*/ 326 w 1043"/>
                <a:gd name="T15" fmla="*/ 680 h 1070"/>
                <a:gd name="T16" fmla="*/ 0 w 1043"/>
                <a:gd name="T17" fmla="*/ 1006 h 1070"/>
                <a:gd name="T18" fmla="*/ 64 w 1043"/>
                <a:gd name="T19" fmla="*/ 1070 h 1070"/>
                <a:gd name="T20" fmla="*/ 393 w 1043"/>
                <a:gd name="T21" fmla="*/ 741 h 1070"/>
                <a:gd name="T22" fmla="*/ 634 w 1043"/>
                <a:gd name="T23" fmla="*/ 820 h 1070"/>
                <a:gd name="T24" fmla="*/ 1043 w 1043"/>
                <a:gd name="T25" fmla="*/ 410 h 1070"/>
                <a:gd name="T26" fmla="*/ 634 w 1043"/>
                <a:gd name="T27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3" h="1070">
                  <a:moveTo>
                    <a:pt x="634" y="729"/>
                  </a:moveTo>
                  <a:cubicBezTo>
                    <a:pt x="458" y="729"/>
                    <a:pt x="315" y="586"/>
                    <a:pt x="315" y="410"/>
                  </a:cubicBezTo>
                  <a:cubicBezTo>
                    <a:pt x="315" y="234"/>
                    <a:pt x="458" y="91"/>
                    <a:pt x="634" y="91"/>
                  </a:cubicBezTo>
                  <a:cubicBezTo>
                    <a:pt x="810" y="91"/>
                    <a:pt x="952" y="234"/>
                    <a:pt x="952" y="410"/>
                  </a:cubicBezTo>
                  <a:cubicBezTo>
                    <a:pt x="952" y="586"/>
                    <a:pt x="810" y="729"/>
                    <a:pt x="634" y="729"/>
                  </a:cubicBezTo>
                  <a:moveTo>
                    <a:pt x="634" y="0"/>
                  </a:moveTo>
                  <a:cubicBezTo>
                    <a:pt x="407" y="0"/>
                    <a:pt x="224" y="184"/>
                    <a:pt x="224" y="410"/>
                  </a:cubicBezTo>
                  <a:cubicBezTo>
                    <a:pt x="224" y="513"/>
                    <a:pt x="263" y="608"/>
                    <a:pt x="326" y="680"/>
                  </a:cubicBezTo>
                  <a:cubicBezTo>
                    <a:pt x="0" y="1006"/>
                    <a:pt x="0" y="1006"/>
                    <a:pt x="0" y="1006"/>
                  </a:cubicBezTo>
                  <a:cubicBezTo>
                    <a:pt x="64" y="1070"/>
                    <a:pt x="64" y="1070"/>
                    <a:pt x="64" y="1070"/>
                  </a:cubicBezTo>
                  <a:cubicBezTo>
                    <a:pt x="393" y="741"/>
                    <a:pt x="393" y="741"/>
                    <a:pt x="393" y="741"/>
                  </a:cubicBezTo>
                  <a:cubicBezTo>
                    <a:pt x="461" y="790"/>
                    <a:pt x="544" y="820"/>
                    <a:pt x="634" y="820"/>
                  </a:cubicBezTo>
                  <a:cubicBezTo>
                    <a:pt x="860" y="820"/>
                    <a:pt x="1043" y="636"/>
                    <a:pt x="1043" y="410"/>
                  </a:cubicBezTo>
                  <a:cubicBezTo>
                    <a:pt x="1043" y="184"/>
                    <a:pt x="860" y="0"/>
                    <a:pt x="634" y="0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4">
                <a:defRPr/>
              </a:pPr>
              <a:endParaRPr lang="en-US" sz="1730">
                <a:solidFill>
                  <a:srgbClr val="3F3F3F"/>
                </a:solidFill>
                <a:latin typeface="Segoe UI"/>
              </a:endParaRPr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10A373AD-040E-41C1-BF3D-5FE8069BDEB0}"/>
              </a:ext>
            </a:extLst>
          </p:cNvPr>
          <p:cNvSpPr txBox="1"/>
          <p:nvPr/>
        </p:nvSpPr>
        <p:spPr>
          <a:xfrm>
            <a:off x="5254713" y="2180229"/>
            <a:ext cx="708527" cy="1425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ing Search</a:t>
            </a: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3936532F-4A62-41B0-8134-F405E5BC5CF6}"/>
              </a:ext>
            </a:extLst>
          </p:cNvPr>
          <p:cNvGrpSpPr/>
          <p:nvPr/>
        </p:nvGrpSpPr>
        <p:grpSpPr>
          <a:xfrm>
            <a:off x="7477692" y="1849832"/>
            <a:ext cx="1531643" cy="1370628"/>
            <a:chOff x="6871924" y="1590965"/>
            <a:chExt cx="1562381" cy="1398133"/>
          </a:xfrm>
          <a:solidFill>
            <a:schemeClr val="tx1"/>
          </a:solidFill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9F6F5C3A-06E8-4778-8470-1EAF63FAD2B9}"/>
                </a:ext>
              </a:extLst>
            </p:cNvPr>
            <p:cNvSpPr/>
            <p:nvPr/>
          </p:nvSpPr>
          <p:spPr bwMode="auto">
            <a:xfrm>
              <a:off x="7155849" y="1590965"/>
              <a:ext cx="365760" cy="365760"/>
            </a:xfrm>
            <a:prstGeom prst="ellipse">
              <a:avLst/>
            </a:prstGeom>
            <a:grpFill/>
            <a:ln w="19050">
              <a:solidFill>
                <a:schemeClr val="bg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22F134E6-351F-44DD-A2F2-228A450F6EFA}"/>
                </a:ext>
              </a:extLst>
            </p:cNvPr>
            <p:cNvSpPr txBox="1"/>
            <p:nvPr/>
          </p:nvSpPr>
          <p:spPr>
            <a:xfrm>
              <a:off x="7255335" y="1731382"/>
              <a:ext cx="166787" cy="83067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ctr" defTabSz="914355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588">
                  <a:gradFill>
                    <a:gsLst>
                      <a:gs pos="84043">
                        <a:srgbClr val="1A1A1A"/>
                      </a:gs>
                      <a:gs pos="69149">
                        <a:srgbClr val="1A1A1A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art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4719ED3B-D0AC-447F-9BD8-2C080807577C}"/>
                </a:ext>
              </a:extLst>
            </p:cNvPr>
            <p:cNvGrpSpPr/>
            <p:nvPr/>
          </p:nvGrpSpPr>
          <p:grpSpPr>
            <a:xfrm>
              <a:off x="8068545" y="2058652"/>
              <a:ext cx="365760" cy="365760"/>
              <a:chOff x="8663471" y="2054156"/>
              <a:chExt cx="365760" cy="365760"/>
            </a:xfrm>
            <a:grpFill/>
          </p:grpSpPr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6CD0404-F2FA-4C2E-A3AE-E7A0A7EDEAE7}"/>
                  </a:ext>
                </a:extLst>
              </p:cNvPr>
              <p:cNvSpPr/>
              <p:nvPr/>
            </p:nvSpPr>
            <p:spPr bwMode="auto">
              <a:xfrm>
                <a:off x="8663471" y="2054156"/>
                <a:ext cx="365760" cy="365760"/>
              </a:xfrm>
              <a:prstGeom prst="ellipse">
                <a:avLst/>
              </a:prstGeom>
              <a:grpFill/>
              <a:ln w="19050">
                <a:solidFill>
                  <a:schemeClr val="bg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A16C50DF-6DE7-468C-97F4-AF12F78386EF}"/>
                  </a:ext>
                </a:extLst>
              </p:cNvPr>
              <p:cNvSpPr txBox="1"/>
              <p:nvPr/>
            </p:nvSpPr>
            <p:spPr>
              <a:xfrm>
                <a:off x="8726239" y="2206247"/>
                <a:ext cx="243640" cy="83067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914355">
                  <a:lnSpc>
                    <a:spcPct val="90000"/>
                  </a:lnSpc>
                  <a:spcAft>
                    <a:spcPts val="588"/>
                  </a:spcAft>
                  <a:defRPr/>
                </a:pPr>
                <a:r>
                  <a:rPr lang="en-US" sz="588">
                    <a:gradFill>
                      <a:gsLst>
                        <a:gs pos="84043">
                          <a:srgbClr val="1A1A1A"/>
                        </a:gs>
                        <a:gs pos="69149">
                          <a:srgbClr val="1A1A1A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tate 2</a:t>
                </a: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2F40FA33-3719-4797-9423-88CDB011A738}"/>
                </a:ext>
              </a:extLst>
            </p:cNvPr>
            <p:cNvGrpSpPr/>
            <p:nvPr/>
          </p:nvGrpSpPr>
          <p:grpSpPr>
            <a:xfrm>
              <a:off x="7729805" y="2623338"/>
              <a:ext cx="365760" cy="365760"/>
              <a:chOff x="8324731" y="2502094"/>
              <a:chExt cx="365760" cy="365760"/>
            </a:xfrm>
            <a:grpFill/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68BDD235-470B-4484-82DE-2B378FCBEBFD}"/>
                  </a:ext>
                </a:extLst>
              </p:cNvPr>
              <p:cNvSpPr/>
              <p:nvPr/>
            </p:nvSpPr>
            <p:spPr bwMode="auto">
              <a:xfrm>
                <a:off x="8324731" y="2502094"/>
                <a:ext cx="365760" cy="365760"/>
              </a:xfrm>
              <a:prstGeom prst="ellipse">
                <a:avLst/>
              </a:prstGeom>
              <a:grpFill/>
              <a:ln w="19050">
                <a:solidFill>
                  <a:schemeClr val="bg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27F89D27-7FA7-485C-8777-D7007A2A2C88}"/>
                  </a:ext>
                </a:extLst>
              </p:cNvPr>
              <p:cNvSpPr txBox="1"/>
              <p:nvPr/>
            </p:nvSpPr>
            <p:spPr>
              <a:xfrm>
                <a:off x="8389689" y="2658064"/>
                <a:ext cx="243640" cy="83067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914355">
                  <a:lnSpc>
                    <a:spcPct val="90000"/>
                  </a:lnSpc>
                  <a:spcAft>
                    <a:spcPts val="588"/>
                  </a:spcAft>
                  <a:defRPr/>
                </a:pPr>
                <a:r>
                  <a:rPr lang="en-US" sz="588">
                    <a:gradFill>
                      <a:gsLst>
                        <a:gs pos="84043">
                          <a:srgbClr val="1A1A1A"/>
                        </a:gs>
                        <a:gs pos="69149">
                          <a:srgbClr val="1A1A1A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tate 3</a:t>
                </a:r>
              </a:p>
            </p:txBody>
          </p:sp>
        </p:grpSp>
        <p:cxnSp>
          <p:nvCxnSpPr>
            <p:cNvPr id="111" name="Connector: Elbow 110">
              <a:extLst>
                <a:ext uri="{FF2B5EF4-FFF2-40B4-BE49-F238E27FC236}">
                  <a16:creationId xmlns:a16="http://schemas.microsoft.com/office/drawing/2014/main" id="{D7842054-482B-4EFB-80B3-DFCA4D948738}"/>
                </a:ext>
              </a:extLst>
            </p:cNvPr>
            <p:cNvCxnSpPr>
              <a:stCxn id="130" idx="3"/>
              <a:endCxn id="135" idx="1"/>
            </p:cNvCxnSpPr>
            <p:nvPr/>
          </p:nvCxnSpPr>
          <p:spPr>
            <a:xfrm rot="16200000" flipH="1">
              <a:off x="7116923" y="1995650"/>
              <a:ext cx="337901" cy="152923"/>
            </a:xfrm>
            <a:prstGeom prst="bentConnector2">
              <a:avLst/>
            </a:prstGeom>
            <a:grpFill/>
            <a:ln>
              <a:solidFill>
                <a:schemeClr val="bg2">
                  <a:lumMod val="9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34681BD-6950-405C-BA5B-307BA381C681}"/>
                </a:ext>
              </a:extLst>
            </p:cNvPr>
            <p:cNvGrpSpPr/>
            <p:nvPr/>
          </p:nvGrpSpPr>
          <p:grpSpPr>
            <a:xfrm>
              <a:off x="7303929" y="2050181"/>
              <a:ext cx="365760" cy="365760"/>
              <a:chOff x="7898855" y="2045685"/>
              <a:chExt cx="365760" cy="365760"/>
            </a:xfrm>
            <a:grpFill/>
          </p:grpSpPr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BC063C73-2E99-493E-A78E-FD2209C144BB}"/>
                  </a:ext>
                </a:extLst>
              </p:cNvPr>
              <p:cNvSpPr/>
              <p:nvPr/>
            </p:nvSpPr>
            <p:spPr bwMode="auto">
              <a:xfrm>
                <a:off x="7898855" y="2045685"/>
                <a:ext cx="365760" cy="365760"/>
              </a:xfrm>
              <a:prstGeom prst="ellipse">
                <a:avLst/>
              </a:prstGeom>
              <a:grpFill/>
              <a:ln w="19050">
                <a:solidFill>
                  <a:schemeClr val="bg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353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583F2BA2-29A3-4976-B41B-00D15EF59717}"/>
                  </a:ext>
                </a:extLst>
              </p:cNvPr>
              <p:cNvSpPr txBox="1"/>
              <p:nvPr/>
            </p:nvSpPr>
            <p:spPr>
              <a:xfrm>
                <a:off x="7957261" y="2195032"/>
                <a:ext cx="232194" cy="83067"/>
              </a:xfrm>
              <a:prstGeom prst="rect">
                <a:avLst/>
              </a:prstGeom>
              <a:grp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914355">
                  <a:lnSpc>
                    <a:spcPct val="90000"/>
                  </a:lnSpc>
                  <a:spcAft>
                    <a:spcPts val="588"/>
                  </a:spcAft>
                  <a:defRPr/>
                </a:pPr>
                <a:r>
                  <a:rPr lang="en-US" sz="588">
                    <a:gradFill>
                      <a:gsLst>
                        <a:gs pos="84043">
                          <a:srgbClr val="1A1A1A"/>
                        </a:gs>
                        <a:gs pos="69149">
                          <a:srgbClr val="1A1A1A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tate 1</a:t>
                </a:r>
              </a:p>
            </p:txBody>
          </p:sp>
        </p:grpSp>
        <p:cxnSp>
          <p:nvCxnSpPr>
            <p:cNvPr id="122" name="Connector: Elbow 121">
              <a:extLst>
                <a:ext uri="{FF2B5EF4-FFF2-40B4-BE49-F238E27FC236}">
                  <a16:creationId xmlns:a16="http://schemas.microsoft.com/office/drawing/2014/main" id="{53505283-699E-4694-A5C9-9013BC7E06AC}"/>
                </a:ext>
              </a:extLst>
            </p:cNvPr>
            <p:cNvCxnSpPr>
              <a:cxnSpLocks/>
              <a:stCxn id="131" idx="0"/>
              <a:endCxn id="86" idx="0"/>
            </p:cNvCxnSpPr>
            <p:nvPr/>
          </p:nvCxnSpPr>
          <p:spPr>
            <a:xfrm rot="16200000" flipH="1">
              <a:off x="7864881" y="1672108"/>
              <a:ext cx="8471" cy="764616"/>
            </a:xfrm>
            <a:prstGeom prst="bentConnector3">
              <a:avLst>
                <a:gd name="adj1" fmla="val -899540"/>
              </a:avLst>
            </a:prstGeom>
            <a:grpFill/>
            <a:ln>
              <a:solidFill>
                <a:schemeClr val="bg2">
                  <a:lumMod val="9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nector: Elbow 125">
              <a:extLst>
                <a:ext uri="{FF2B5EF4-FFF2-40B4-BE49-F238E27FC236}">
                  <a16:creationId xmlns:a16="http://schemas.microsoft.com/office/drawing/2014/main" id="{BFC7E245-514E-4E3F-ACFB-261AC21E49C6}"/>
                </a:ext>
              </a:extLst>
            </p:cNvPr>
            <p:cNvCxnSpPr>
              <a:cxnSpLocks/>
              <a:stCxn id="131" idx="4"/>
              <a:endCxn id="86" idx="4"/>
            </p:cNvCxnSpPr>
            <p:nvPr/>
          </p:nvCxnSpPr>
          <p:spPr>
            <a:xfrm rot="16200000" flipH="1">
              <a:off x="7864882" y="2037868"/>
              <a:ext cx="8471" cy="764616"/>
            </a:xfrm>
            <a:prstGeom prst="bentConnector3">
              <a:avLst>
                <a:gd name="adj1" fmla="val 999516"/>
              </a:avLst>
            </a:prstGeom>
            <a:grpFill/>
            <a:ln>
              <a:solidFill>
                <a:schemeClr val="bg2">
                  <a:lumMod val="9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731B43D7-48FE-4956-BCF6-02651D300FC7}"/>
                </a:ext>
              </a:extLst>
            </p:cNvPr>
            <p:cNvSpPr txBox="1"/>
            <p:nvPr/>
          </p:nvSpPr>
          <p:spPr>
            <a:xfrm>
              <a:off x="7672079" y="2453596"/>
              <a:ext cx="408794" cy="83067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ctr" defTabSz="914355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588">
                  <a:gradFill>
                    <a:gsLst>
                      <a:gs pos="84043">
                        <a:srgbClr val="1A1A1A"/>
                      </a:gs>
                      <a:gs pos="69149">
                        <a:srgbClr val="1A1A1A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ransition 3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00001FEB-75E4-4B7F-9B9A-F580DC35D166}"/>
                </a:ext>
              </a:extLst>
            </p:cNvPr>
            <p:cNvSpPr txBox="1"/>
            <p:nvPr/>
          </p:nvSpPr>
          <p:spPr>
            <a:xfrm>
              <a:off x="7672079" y="1929033"/>
              <a:ext cx="408794" cy="83067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ctr" defTabSz="914355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588">
                  <a:gradFill>
                    <a:gsLst>
                      <a:gs pos="84043">
                        <a:srgbClr val="1A1A1A"/>
                      </a:gs>
                      <a:gs pos="69149">
                        <a:srgbClr val="1A1A1A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ransition 2</a:t>
              </a:r>
            </a:p>
          </p:txBody>
        </p:sp>
        <p:cxnSp>
          <p:nvCxnSpPr>
            <p:cNvPr id="1025" name="Connector: Elbow 1024">
              <a:extLst>
                <a:ext uri="{FF2B5EF4-FFF2-40B4-BE49-F238E27FC236}">
                  <a16:creationId xmlns:a16="http://schemas.microsoft.com/office/drawing/2014/main" id="{165CB547-C90B-412A-A2AA-2D3B85B75710}"/>
                </a:ext>
              </a:extLst>
            </p:cNvPr>
            <p:cNvCxnSpPr>
              <a:stCxn id="131" idx="3"/>
              <a:endCxn id="132" idx="2"/>
            </p:cNvCxnSpPr>
            <p:nvPr/>
          </p:nvCxnSpPr>
          <p:spPr>
            <a:xfrm rot="16200000" flipH="1">
              <a:off x="7321729" y="2398141"/>
              <a:ext cx="443841" cy="372312"/>
            </a:xfrm>
            <a:prstGeom prst="bentConnector2">
              <a:avLst/>
            </a:prstGeom>
            <a:grpFill/>
            <a:ln>
              <a:solidFill>
                <a:schemeClr val="bg2">
                  <a:lumMod val="9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25AE64E-1B53-4CBB-82CB-994B792B9A19}"/>
                </a:ext>
              </a:extLst>
            </p:cNvPr>
            <p:cNvSpPr txBox="1"/>
            <p:nvPr/>
          </p:nvSpPr>
          <p:spPr>
            <a:xfrm>
              <a:off x="7259941" y="2762381"/>
              <a:ext cx="410429" cy="83067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ctr" defTabSz="914355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588">
                  <a:gradFill>
                    <a:gsLst>
                      <a:gs pos="84043">
                        <a:srgbClr val="1A1A1A"/>
                      </a:gs>
                      <a:gs pos="69149">
                        <a:srgbClr val="1A1A1A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ransition 4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11778800-6F6F-4BE1-965B-DFC31C373181}"/>
                </a:ext>
              </a:extLst>
            </p:cNvPr>
            <p:cNvSpPr txBox="1"/>
            <p:nvPr/>
          </p:nvSpPr>
          <p:spPr>
            <a:xfrm>
              <a:off x="6871924" y="2008378"/>
              <a:ext cx="397347" cy="83067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ctr" defTabSz="914355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588">
                  <a:gradFill>
                    <a:gsLst>
                      <a:gs pos="84043">
                        <a:srgbClr val="1A1A1A"/>
                      </a:gs>
                      <a:gs pos="69149">
                        <a:srgbClr val="1A1A1A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ransition 1</a:t>
              </a:r>
            </a:p>
          </p:txBody>
        </p:sp>
      </p:grpSp>
      <p:sp>
        <p:nvSpPr>
          <p:cNvPr id="153" name="TextBox 152">
            <a:extLst>
              <a:ext uri="{FF2B5EF4-FFF2-40B4-BE49-F238E27FC236}">
                <a16:creationId xmlns:a16="http://schemas.microsoft.com/office/drawing/2014/main" id="{3ECC1C26-4C7D-418A-B445-A63BEA2A989B}"/>
              </a:ext>
            </a:extLst>
          </p:cNvPr>
          <p:cNvSpPr txBox="1"/>
          <p:nvPr/>
        </p:nvSpPr>
        <p:spPr>
          <a:xfrm>
            <a:off x="8814110" y="2920011"/>
            <a:ext cx="822252" cy="1086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784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ot Framework</a:t>
            </a:r>
          </a:p>
        </p:txBody>
      </p:sp>
      <p:cxnSp>
        <p:nvCxnSpPr>
          <p:cNvPr id="1029" name="Straight Connector 1028">
            <a:extLst>
              <a:ext uri="{FF2B5EF4-FFF2-40B4-BE49-F238E27FC236}">
                <a16:creationId xmlns:a16="http://schemas.microsoft.com/office/drawing/2014/main" id="{41FFB9C0-1870-4BE1-B2B9-98728305162F}"/>
              </a:ext>
            </a:extLst>
          </p:cNvPr>
          <p:cNvCxnSpPr>
            <a:cxnSpLocks/>
            <a:stCxn id="94" idx="5"/>
            <a:endCxn id="58" idx="0"/>
          </p:cNvCxnSpPr>
          <p:nvPr/>
        </p:nvCxnSpPr>
        <p:spPr>
          <a:xfrm>
            <a:off x="6422491" y="2509023"/>
            <a:ext cx="216761" cy="363608"/>
          </a:xfrm>
          <a:prstGeom prst="line">
            <a:avLst/>
          </a:prstGeom>
          <a:solidFill>
            <a:schemeClr val="bg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81FBD869-5738-4CA2-B2AD-AD0A823D796A}"/>
              </a:ext>
            </a:extLst>
          </p:cNvPr>
          <p:cNvCxnSpPr>
            <a:cxnSpLocks/>
            <a:stCxn id="84" idx="6"/>
            <a:endCxn id="58" idx="1"/>
          </p:cNvCxnSpPr>
          <p:nvPr/>
        </p:nvCxnSpPr>
        <p:spPr>
          <a:xfrm>
            <a:off x="5827065" y="3044476"/>
            <a:ext cx="411808" cy="185366"/>
          </a:xfrm>
          <a:prstGeom prst="line">
            <a:avLst/>
          </a:prstGeom>
          <a:solidFill>
            <a:schemeClr val="bg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1037" name="Straight Connector 1036">
            <a:extLst>
              <a:ext uri="{FF2B5EF4-FFF2-40B4-BE49-F238E27FC236}">
                <a16:creationId xmlns:a16="http://schemas.microsoft.com/office/drawing/2014/main" id="{237F6B00-2AE5-459E-AAA3-1E5EC4D5187A}"/>
              </a:ext>
            </a:extLst>
          </p:cNvPr>
          <p:cNvCxnSpPr>
            <a:cxnSpLocks/>
            <a:stCxn id="88" idx="6"/>
            <a:endCxn id="58" idx="2"/>
          </p:cNvCxnSpPr>
          <p:nvPr/>
        </p:nvCxnSpPr>
        <p:spPr>
          <a:xfrm flipV="1">
            <a:off x="5180139" y="3765541"/>
            <a:ext cx="1028210" cy="2921"/>
          </a:xfrm>
          <a:prstGeom prst="line">
            <a:avLst/>
          </a:prstGeom>
          <a:solidFill>
            <a:schemeClr val="bg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1041" name="Straight Connector 1040">
            <a:extLst>
              <a:ext uri="{FF2B5EF4-FFF2-40B4-BE49-F238E27FC236}">
                <a16:creationId xmlns:a16="http://schemas.microsoft.com/office/drawing/2014/main" id="{E0FB90FF-CAA7-49E1-9923-2EF72CC10F59}"/>
              </a:ext>
            </a:extLst>
          </p:cNvPr>
          <p:cNvCxnSpPr>
            <a:cxnSpLocks/>
            <a:stCxn id="92" idx="7"/>
            <a:endCxn id="58" idx="3"/>
          </p:cNvCxnSpPr>
          <p:nvPr/>
        </p:nvCxnSpPr>
        <p:spPr>
          <a:xfrm flipV="1">
            <a:off x="6189500" y="4165920"/>
            <a:ext cx="376063" cy="432065"/>
          </a:xfrm>
          <a:prstGeom prst="line">
            <a:avLst/>
          </a:prstGeom>
          <a:solidFill>
            <a:schemeClr val="bg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1047" name="Straight Connector 1046">
            <a:extLst>
              <a:ext uri="{FF2B5EF4-FFF2-40B4-BE49-F238E27FC236}">
                <a16:creationId xmlns:a16="http://schemas.microsoft.com/office/drawing/2014/main" id="{3AA239FF-BA36-4631-BE02-86CEE0DEFDCD}"/>
              </a:ext>
            </a:extLst>
          </p:cNvPr>
          <p:cNvCxnSpPr>
            <a:cxnSpLocks/>
            <a:stCxn id="97" idx="2"/>
            <a:endCxn id="58" idx="4"/>
          </p:cNvCxnSpPr>
          <p:nvPr/>
        </p:nvCxnSpPr>
        <p:spPr>
          <a:xfrm flipH="1" flipV="1">
            <a:off x="7101262" y="4196444"/>
            <a:ext cx="255982" cy="334175"/>
          </a:xfrm>
          <a:prstGeom prst="line">
            <a:avLst/>
          </a:prstGeom>
          <a:solidFill>
            <a:schemeClr val="bg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sp>
        <p:nvSpPr>
          <p:cNvPr id="128" name="Rectangle 127">
            <a:extLst>
              <a:ext uri="{FF2B5EF4-FFF2-40B4-BE49-F238E27FC236}">
                <a16:creationId xmlns:a16="http://schemas.microsoft.com/office/drawing/2014/main" id="{813CBB39-1601-45D7-8753-B0FDE9723077}"/>
              </a:ext>
            </a:extLst>
          </p:cNvPr>
          <p:cNvSpPr/>
          <p:nvPr/>
        </p:nvSpPr>
        <p:spPr bwMode="auto">
          <a:xfrm>
            <a:off x="10211622" y="3410192"/>
            <a:ext cx="1337147" cy="335771"/>
          </a:xfrm>
          <a:prstGeom prst="rect">
            <a:avLst/>
          </a:prstGeom>
          <a:solidFill>
            <a:schemeClr val="tx1">
              <a:lumMod val="7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pic>
        <p:nvPicPr>
          <p:cNvPr id="138" name="Picture 137">
            <a:extLst>
              <a:ext uri="{FF2B5EF4-FFF2-40B4-BE49-F238E27FC236}">
                <a16:creationId xmlns:a16="http://schemas.microsoft.com/office/drawing/2014/main" id="{107AA9EA-9011-4C65-B357-F0ACE69C5D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70062" y="3445248"/>
            <a:ext cx="241454" cy="242720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E6C70E18-D839-4C30-8A9A-8E84A10ABAA0}"/>
              </a:ext>
            </a:extLst>
          </p:cNvPr>
          <p:cNvSpPr txBox="1"/>
          <p:nvPr/>
        </p:nvSpPr>
        <p:spPr>
          <a:xfrm>
            <a:off x="10868866" y="3521860"/>
            <a:ext cx="248466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784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IFTT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38999" y="4521041"/>
            <a:ext cx="443243" cy="42051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54017" y="3361268"/>
            <a:ext cx="141944" cy="237538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33636" y="3361268"/>
            <a:ext cx="141944" cy="237538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59550" y="3361268"/>
            <a:ext cx="141944" cy="237538"/>
          </a:xfrm>
          <a:prstGeom prst="rect">
            <a:avLst/>
          </a:prstGeom>
        </p:spPr>
      </p:pic>
      <p:sp>
        <p:nvSpPr>
          <p:cNvPr id="147" name="Rectangle 146">
            <a:extLst>
              <a:ext uri="{FF2B5EF4-FFF2-40B4-BE49-F238E27FC236}">
                <a16:creationId xmlns:a16="http://schemas.microsoft.com/office/drawing/2014/main" id="{51049005-9633-4D22-826B-41036AF891A5}"/>
              </a:ext>
            </a:extLst>
          </p:cNvPr>
          <p:cNvSpPr/>
          <p:nvPr/>
        </p:nvSpPr>
        <p:spPr bwMode="auto">
          <a:xfrm>
            <a:off x="10212278" y="2134560"/>
            <a:ext cx="1337147" cy="335771"/>
          </a:xfrm>
          <a:prstGeom prst="rect">
            <a:avLst/>
          </a:prstGeom>
          <a:solidFill>
            <a:schemeClr val="tx1">
              <a:lumMod val="7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pic>
        <p:nvPicPr>
          <p:cNvPr id="1044" name="Picture 20" descr="Image result for azure logo png">
            <a:extLst>
              <a:ext uri="{FF2B5EF4-FFF2-40B4-BE49-F238E27FC236}">
                <a16:creationId xmlns:a16="http://schemas.microsoft.com/office/drawing/2014/main" id="{D4C846F8-BFC7-41B1-8BED-E4D4B9D19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2617" y="2263821"/>
            <a:ext cx="756467" cy="91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13"/>
          <a:srcRect t="38180"/>
          <a:stretch/>
        </p:blipFill>
        <p:spPr>
          <a:xfrm>
            <a:off x="2939500" y="3383390"/>
            <a:ext cx="442243" cy="480106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388410" y="4579987"/>
            <a:ext cx="335597" cy="295525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20" name="Robot_E99A">
            <a:extLst>
              <a:ext uri="{FF2B5EF4-FFF2-40B4-BE49-F238E27FC236}">
                <a16:creationId xmlns:a16="http://schemas.microsoft.com/office/drawing/2014/main" id="{F033F7E9-1013-4127-92CA-03CED842D97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60975" y="5222978"/>
            <a:ext cx="232573" cy="300530"/>
          </a:xfrm>
          <a:custGeom>
            <a:avLst/>
            <a:gdLst>
              <a:gd name="T0" fmla="*/ 1750 w 3000"/>
              <a:gd name="T1" fmla="*/ 250 h 3875"/>
              <a:gd name="T2" fmla="*/ 1500 w 3000"/>
              <a:gd name="T3" fmla="*/ 500 h 3875"/>
              <a:gd name="T4" fmla="*/ 1250 w 3000"/>
              <a:gd name="T5" fmla="*/ 250 h 3875"/>
              <a:gd name="T6" fmla="*/ 1500 w 3000"/>
              <a:gd name="T7" fmla="*/ 0 h 3875"/>
              <a:gd name="T8" fmla="*/ 1750 w 3000"/>
              <a:gd name="T9" fmla="*/ 250 h 3875"/>
              <a:gd name="T10" fmla="*/ 2500 w 3000"/>
              <a:gd name="T11" fmla="*/ 2074 h 3875"/>
              <a:gd name="T12" fmla="*/ 2500 w 3000"/>
              <a:gd name="T13" fmla="*/ 1176 h 3875"/>
              <a:gd name="T14" fmla="*/ 2324 w 3000"/>
              <a:gd name="T15" fmla="*/ 1000 h 3875"/>
              <a:gd name="T16" fmla="*/ 676 w 3000"/>
              <a:gd name="T17" fmla="*/ 1000 h 3875"/>
              <a:gd name="T18" fmla="*/ 500 w 3000"/>
              <a:gd name="T19" fmla="*/ 1176 h 3875"/>
              <a:gd name="T20" fmla="*/ 500 w 3000"/>
              <a:gd name="T21" fmla="*/ 2074 h 3875"/>
              <a:gd name="T22" fmla="*/ 676 w 3000"/>
              <a:gd name="T23" fmla="*/ 2250 h 3875"/>
              <a:gd name="T24" fmla="*/ 2324 w 3000"/>
              <a:gd name="T25" fmla="*/ 2250 h 3875"/>
              <a:gd name="T26" fmla="*/ 2500 w 3000"/>
              <a:gd name="T27" fmla="*/ 2074 h 3875"/>
              <a:gd name="T28" fmla="*/ 3000 w 3000"/>
              <a:gd name="T29" fmla="*/ 3875 h 3875"/>
              <a:gd name="T30" fmla="*/ 3000 w 3000"/>
              <a:gd name="T31" fmla="*/ 2958 h 3875"/>
              <a:gd name="T32" fmla="*/ 2792 w 3000"/>
              <a:gd name="T33" fmla="*/ 2750 h 3875"/>
              <a:gd name="T34" fmla="*/ 208 w 3000"/>
              <a:gd name="T35" fmla="*/ 2750 h 3875"/>
              <a:gd name="T36" fmla="*/ 0 w 3000"/>
              <a:gd name="T37" fmla="*/ 2958 h 3875"/>
              <a:gd name="T38" fmla="*/ 0 w 3000"/>
              <a:gd name="T39" fmla="*/ 3875 h 3875"/>
              <a:gd name="T40" fmla="*/ 1000 w 3000"/>
              <a:gd name="T41" fmla="*/ 2250 h 3875"/>
              <a:gd name="T42" fmla="*/ 1000 w 3000"/>
              <a:gd name="T43" fmla="*/ 2750 h 3875"/>
              <a:gd name="T44" fmla="*/ 1500 w 3000"/>
              <a:gd name="T45" fmla="*/ 500 h 3875"/>
              <a:gd name="T46" fmla="*/ 1500 w 3000"/>
              <a:gd name="T47" fmla="*/ 1000 h 3875"/>
              <a:gd name="T48" fmla="*/ 2000 w 3000"/>
              <a:gd name="T49" fmla="*/ 2250 h 3875"/>
              <a:gd name="T50" fmla="*/ 2000 w 3000"/>
              <a:gd name="T51" fmla="*/ 2750 h 3875"/>
              <a:gd name="T52" fmla="*/ 875 w 3000"/>
              <a:gd name="T53" fmla="*/ 1500 h 3875"/>
              <a:gd name="T54" fmla="*/ 1125 w 3000"/>
              <a:gd name="T55" fmla="*/ 1500 h 3875"/>
              <a:gd name="T56" fmla="*/ 1875 w 3000"/>
              <a:gd name="T57" fmla="*/ 1500 h 3875"/>
              <a:gd name="T58" fmla="*/ 2125 w 3000"/>
              <a:gd name="T59" fmla="*/ 1500 h 3875"/>
              <a:gd name="T60" fmla="*/ 381 w 3000"/>
              <a:gd name="T61" fmla="*/ 1375 h 3875"/>
              <a:gd name="T62" fmla="*/ 381 w 3000"/>
              <a:gd name="T63" fmla="*/ 1875 h 3875"/>
              <a:gd name="T64" fmla="*/ 2624 w 3000"/>
              <a:gd name="T65" fmla="*/ 1375 h 3875"/>
              <a:gd name="T66" fmla="*/ 2624 w 3000"/>
              <a:gd name="T67" fmla="*/ 1875 h 3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00" h="3875">
                <a:moveTo>
                  <a:pt x="1750" y="250"/>
                </a:moveTo>
                <a:cubicBezTo>
                  <a:pt x="1750" y="388"/>
                  <a:pt x="1638" y="500"/>
                  <a:pt x="1500" y="500"/>
                </a:cubicBezTo>
                <a:cubicBezTo>
                  <a:pt x="1362" y="500"/>
                  <a:pt x="1250" y="388"/>
                  <a:pt x="1250" y="250"/>
                </a:cubicBezTo>
                <a:cubicBezTo>
                  <a:pt x="1250" y="112"/>
                  <a:pt x="1362" y="0"/>
                  <a:pt x="1500" y="0"/>
                </a:cubicBezTo>
                <a:cubicBezTo>
                  <a:pt x="1638" y="0"/>
                  <a:pt x="1750" y="112"/>
                  <a:pt x="1750" y="250"/>
                </a:cubicBezTo>
                <a:close/>
                <a:moveTo>
                  <a:pt x="2500" y="2074"/>
                </a:moveTo>
                <a:cubicBezTo>
                  <a:pt x="2500" y="1176"/>
                  <a:pt x="2500" y="1176"/>
                  <a:pt x="2500" y="1176"/>
                </a:cubicBezTo>
                <a:cubicBezTo>
                  <a:pt x="2500" y="1079"/>
                  <a:pt x="2421" y="1000"/>
                  <a:pt x="2324" y="1000"/>
                </a:cubicBezTo>
                <a:cubicBezTo>
                  <a:pt x="676" y="1000"/>
                  <a:pt x="676" y="1000"/>
                  <a:pt x="676" y="1000"/>
                </a:cubicBezTo>
                <a:cubicBezTo>
                  <a:pt x="579" y="1000"/>
                  <a:pt x="500" y="1079"/>
                  <a:pt x="500" y="1176"/>
                </a:cubicBezTo>
                <a:cubicBezTo>
                  <a:pt x="500" y="2074"/>
                  <a:pt x="500" y="2074"/>
                  <a:pt x="500" y="2074"/>
                </a:cubicBezTo>
                <a:cubicBezTo>
                  <a:pt x="500" y="2171"/>
                  <a:pt x="579" y="2250"/>
                  <a:pt x="676" y="2250"/>
                </a:cubicBezTo>
                <a:cubicBezTo>
                  <a:pt x="2324" y="2250"/>
                  <a:pt x="2324" y="2250"/>
                  <a:pt x="2324" y="2250"/>
                </a:cubicBezTo>
                <a:cubicBezTo>
                  <a:pt x="2421" y="2250"/>
                  <a:pt x="2500" y="2171"/>
                  <a:pt x="2500" y="2074"/>
                </a:cubicBezTo>
                <a:close/>
                <a:moveTo>
                  <a:pt x="3000" y="3875"/>
                </a:moveTo>
                <a:cubicBezTo>
                  <a:pt x="3000" y="2958"/>
                  <a:pt x="3000" y="2958"/>
                  <a:pt x="3000" y="2958"/>
                </a:cubicBezTo>
                <a:cubicBezTo>
                  <a:pt x="3000" y="2843"/>
                  <a:pt x="2907" y="2750"/>
                  <a:pt x="2792" y="2750"/>
                </a:cubicBezTo>
                <a:cubicBezTo>
                  <a:pt x="208" y="2750"/>
                  <a:pt x="208" y="2750"/>
                  <a:pt x="208" y="2750"/>
                </a:cubicBezTo>
                <a:cubicBezTo>
                  <a:pt x="93" y="2750"/>
                  <a:pt x="0" y="2843"/>
                  <a:pt x="0" y="2958"/>
                </a:cubicBezTo>
                <a:cubicBezTo>
                  <a:pt x="0" y="3875"/>
                  <a:pt x="0" y="3875"/>
                  <a:pt x="0" y="3875"/>
                </a:cubicBezTo>
                <a:moveTo>
                  <a:pt x="1000" y="2250"/>
                </a:moveTo>
                <a:cubicBezTo>
                  <a:pt x="1000" y="2750"/>
                  <a:pt x="1000" y="2750"/>
                  <a:pt x="1000" y="2750"/>
                </a:cubicBezTo>
                <a:moveTo>
                  <a:pt x="1500" y="500"/>
                </a:moveTo>
                <a:cubicBezTo>
                  <a:pt x="1500" y="1000"/>
                  <a:pt x="1500" y="1000"/>
                  <a:pt x="1500" y="1000"/>
                </a:cubicBezTo>
                <a:moveTo>
                  <a:pt x="2000" y="2250"/>
                </a:moveTo>
                <a:cubicBezTo>
                  <a:pt x="2000" y="2750"/>
                  <a:pt x="2000" y="2750"/>
                  <a:pt x="2000" y="2750"/>
                </a:cubicBezTo>
                <a:moveTo>
                  <a:pt x="875" y="1500"/>
                </a:moveTo>
                <a:cubicBezTo>
                  <a:pt x="1125" y="1500"/>
                  <a:pt x="1125" y="1500"/>
                  <a:pt x="1125" y="1500"/>
                </a:cubicBezTo>
                <a:moveTo>
                  <a:pt x="1875" y="1500"/>
                </a:moveTo>
                <a:cubicBezTo>
                  <a:pt x="2125" y="1500"/>
                  <a:pt x="2125" y="1500"/>
                  <a:pt x="2125" y="1500"/>
                </a:cubicBezTo>
                <a:moveTo>
                  <a:pt x="381" y="1375"/>
                </a:moveTo>
                <a:cubicBezTo>
                  <a:pt x="381" y="1875"/>
                  <a:pt x="381" y="1875"/>
                  <a:pt x="381" y="1875"/>
                </a:cubicBezTo>
                <a:moveTo>
                  <a:pt x="2624" y="1375"/>
                </a:moveTo>
                <a:cubicBezTo>
                  <a:pt x="2624" y="1875"/>
                  <a:pt x="2624" y="1875"/>
                  <a:pt x="2624" y="1875"/>
                </a:cubicBezTo>
              </a:path>
            </a:pathLst>
          </a:custGeom>
          <a:noFill/>
          <a:ln w="15875" cap="sq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0" tIns="44821" rIns="89640" bIns="44821" numCol="1" anchor="t" anchorCtr="0" compatLnSpc="1">
            <a:prstTxWarp prst="textNoShape">
              <a:avLst/>
            </a:prstTxWarp>
          </a:bodyPr>
          <a:lstStyle/>
          <a:p>
            <a:pPr defTabSz="914355">
              <a:defRPr/>
            </a:pPr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pic>
        <p:nvPicPr>
          <p:cNvPr id="14" name="Graphic 13" descr="Network">
            <a:extLst>
              <a:ext uri="{FF2B5EF4-FFF2-40B4-BE49-F238E27FC236}">
                <a16:creationId xmlns:a16="http://schemas.microsoft.com/office/drawing/2014/main" id="{7DBC1FC8-99D8-4C11-B87D-58A438499CB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940917" y="5158314"/>
            <a:ext cx="427472" cy="427472"/>
          </a:xfrm>
          <a:prstGeom prst="rect">
            <a:avLst/>
          </a:prstGeom>
        </p:spPr>
      </p:pic>
      <p:sp>
        <p:nvSpPr>
          <p:cNvPr id="127" name="Oval 126">
            <a:extLst>
              <a:ext uri="{FF2B5EF4-FFF2-40B4-BE49-F238E27FC236}">
                <a16:creationId xmlns:a16="http://schemas.microsoft.com/office/drawing/2014/main" id="{B67C6B1E-73A3-4E6A-A5D0-D1588A8BE977}"/>
              </a:ext>
            </a:extLst>
          </p:cNvPr>
          <p:cNvSpPr/>
          <p:nvPr/>
        </p:nvSpPr>
        <p:spPr bwMode="auto">
          <a:xfrm rot="2765178">
            <a:off x="8560978" y="3544319"/>
            <a:ext cx="557143" cy="557143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3" tIns="143426" rIns="179283" bIns="143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9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44A332E-ACE9-4098-8F86-EE957DE0D11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66802" y="3655746"/>
            <a:ext cx="330967" cy="312768"/>
          </a:xfrm>
          <a:prstGeom prst="rect">
            <a:avLst/>
          </a:prstGeom>
        </p:spPr>
      </p:pic>
      <p:sp>
        <p:nvSpPr>
          <p:cNvPr id="139" name="TextBox 138">
            <a:extLst>
              <a:ext uri="{FF2B5EF4-FFF2-40B4-BE49-F238E27FC236}">
                <a16:creationId xmlns:a16="http://schemas.microsoft.com/office/drawing/2014/main" id="{321EEF7A-4987-43A2-9D9E-796F497FFD55}"/>
              </a:ext>
            </a:extLst>
          </p:cNvPr>
          <p:cNvSpPr txBox="1"/>
          <p:nvPr/>
        </p:nvSpPr>
        <p:spPr>
          <a:xfrm>
            <a:off x="8633780" y="4146353"/>
            <a:ext cx="522579" cy="1425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55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029">
                <a:gradFill>
                  <a:gsLst>
                    <a:gs pos="84043">
                      <a:srgbClr val="1A1A1A"/>
                    </a:gs>
                    <a:gs pos="69149">
                      <a:srgbClr val="1A1A1A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ispatch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3C4C84C9-6CA2-4A8C-B96B-AC9D30CFB20A}"/>
              </a:ext>
            </a:extLst>
          </p:cNvPr>
          <p:cNvCxnSpPr>
            <a:cxnSpLocks/>
          </p:cNvCxnSpPr>
          <p:nvPr/>
        </p:nvCxnSpPr>
        <p:spPr>
          <a:xfrm flipV="1">
            <a:off x="7550452" y="3759106"/>
            <a:ext cx="1028210" cy="2921"/>
          </a:xfrm>
          <a:prstGeom prst="line">
            <a:avLst/>
          </a:prstGeom>
          <a:solidFill>
            <a:schemeClr val="bg1"/>
          </a:solidFill>
          <a:ln w="1905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pic>
        <p:nvPicPr>
          <p:cNvPr id="3074" name="Picture 2" descr="Image result for Microsoft teams transparent">
            <a:extLst>
              <a:ext uri="{FF2B5EF4-FFF2-40B4-BE49-F238E27FC236}">
                <a16:creationId xmlns:a16="http://schemas.microsoft.com/office/drawing/2014/main" id="{DA520E1B-09DA-4488-A73F-851551264A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985" y="2938918"/>
            <a:ext cx="541273" cy="541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3FC83536-0E4B-4DC2-A3FC-9F6519FD2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defTabSz="914355">
              <a:defRPr/>
            </a:pPr>
            <a:r>
              <a:rPr lang="en-US" sz="3200">
                <a:solidFill>
                  <a:srgbClr val="FF6A00"/>
                </a:solidFill>
                <a:latin typeface="Segoe UI"/>
              </a:rPr>
              <a:t>Conversational AI: Azure Bot Service + Cognitive Servi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23799-0AFE-4757-9417-4CFFE9BD0F3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it-IT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8805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348" y="372760"/>
            <a:ext cx="11018351" cy="553990"/>
          </a:xfrm>
        </p:spPr>
        <p:txBody>
          <a:bodyPr>
            <a:normAutofit fontScale="90000"/>
          </a:bodyPr>
          <a:lstStyle/>
          <a:p>
            <a:r>
              <a:rPr lang="en-US"/>
              <a:t>Bot Framework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EDACC78-3D3F-4296-91A8-C2F95FD3BBEE}"/>
              </a:ext>
            </a:extLst>
          </p:cNvPr>
          <p:cNvGrpSpPr/>
          <p:nvPr/>
        </p:nvGrpSpPr>
        <p:grpSpPr>
          <a:xfrm>
            <a:off x="2787063" y="1278176"/>
            <a:ext cx="3375736" cy="3375736"/>
            <a:chOff x="3994484" y="1616242"/>
            <a:chExt cx="4203032" cy="4203032"/>
          </a:xfrm>
          <a:solidFill>
            <a:schemeClr val="accent6"/>
          </a:solidFill>
        </p:grpSpPr>
        <p:sp>
          <p:nvSpPr>
            <p:cNvPr id="21" name="Circle: Hollow 20">
              <a:extLst>
                <a:ext uri="{FF2B5EF4-FFF2-40B4-BE49-F238E27FC236}">
                  <a16:creationId xmlns:a16="http://schemas.microsoft.com/office/drawing/2014/main" id="{499A1557-1BA9-4BEA-9204-3D66929E0437}"/>
                </a:ext>
              </a:extLst>
            </p:cNvPr>
            <p:cNvSpPr/>
            <p:nvPr/>
          </p:nvSpPr>
          <p:spPr bwMode="auto">
            <a:xfrm>
              <a:off x="3994484" y="1616242"/>
              <a:ext cx="4203032" cy="4203032"/>
            </a:xfrm>
            <a:prstGeom prst="donut">
              <a:avLst>
                <a:gd name="adj" fmla="val 1118"/>
              </a:avLst>
            </a:prstGeom>
            <a:solidFill>
              <a:schemeClr val="accent5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1" name="Circle: Hollow 140">
              <a:extLst>
                <a:ext uri="{FF2B5EF4-FFF2-40B4-BE49-F238E27FC236}">
                  <a16:creationId xmlns:a16="http://schemas.microsoft.com/office/drawing/2014/main" id="{AA8CA484-F0E2-4730-8091-2D49196D9CFF}"/>
                </a:ext>
              </a:extLst>
            </p:cNvPr>
            <p:cNvSpPr/>
            <p:nvPr/>
          </p:nvSpPr>
          <p:spPr bwMode="auto">
            <a:xfrm>
              <a:off x="4231907" y="1853665"/>
              <a:ext cx="3728186" cy="3728186"/>
            </a:xfrm>
            <a:prstGeom prst="donut">
              <a:avLst>
                <a:gd name="adj" fmla="val 3796"/>
              </a:avLst>
            </a:prstGeom>
            <a:solidFill>
              <a:schemeClr val="accent5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2" name="Circle: Hollow 141">
              <a:extLst>
                <a:ext uri="{FF2B5EF4-FFF2-40B4-BE49-F238E27FC236}">
                  <a16:creationId xmlns:a16="http://schemas.microsoft.com/office/drawing/2014/main" id="{A68CBC5D-0DD7-4B79-A1D9-B6CFF38FDAFB}"/>
                </a:ext>
              </a:extLst>
            </p:cNvPr>
            <p:cNvSpPr/>
            <p:nvPr/>
          </p:nvSpPr>
          <p:spPr bwMode="auto">
            <a:xfrm>
              <a:off x="4524676" y="2146434"/>
              <a:ext cx="3142648" cy="3142648"/>
            </a:xfrm>
            <a:prstGeom prst="donut">
              <a:avLst>
                <a:gd name="adj" fmla="val 1118"/>
              </a:avLst>
            </a:prstGeom>
            <a:solidFill>
              <a:schemeClr val="accent5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201" name="Group 1200">
            <a:extLst>
              <a:ext uri="{FF2B5EF4-FFF2-40B4-BE49-F238E27FC236}">
                <a16:creationId xmlns:a16="http://schemas.microsoft.com/office/drawing/2014/main" id="{FA60D946-0232-4905-AA5D-3171FC0E8660}"/>
              </a:ext>
            </a:extLst>
          </p:cNvPr>
          <p:cNvGrpSpPr/>
          <p:nvPr/>
        </p:nvGrpSpPr>
        <p:grpSpPr>
          <a:xfrm>
            <a:off x="3200230" y="2227020"/>
            <a:ext cx="2549405" cy="1478049"/>
            <a:chOff x="5774572" y="2150854"/>
            <a:chExt cx="4837112" cy="2804375"/>
          </a:xfrm>
        </p:grpSpPr>
        <p:grpSp>
          <p:nvGrpSpPr>
            <p:cNvPr id="1200" name="Group 1199">
              <a:extLst>
                <a:ext uri="{FF2B5EF4-FFF2-40B4-BE49-F238E27FC236}">
                  <a16:creationId xmlns:a16="http://schemas.microsoft.com/office/drawing/2014/main" id="{C1B05ED0-8817-4F77-A4F8-EDE1A5026A07}"/>
                </a:ext>
              </a:extLst>
            </p:cNvPr>
            <p:cNvGrpSpPr/>
            <p:nvPr/>
          </p:nvGrpSpPr>
          <p:grpSpPr>
            <a:xfrm>
              <a:off x="5774572" y="2150854"/>
              <a:ext cx="4837112" cy="2804375"/>
              <a:chOff x="5774572" y="2150854"/>
              <a:chExt cx="4837112" cy="2804375"/>
            </a:xfrm>
          </p:grpSpPr>
          <p:sp>
            <p:nvSpPr>
              <p:cNvPr id="234" name="Freeform 167">
                <a:extLst>
                  <a:ext uri="{FF2B5EF4-FFF2-40B4-BE49-F238E27FC236}">
                    <a16:creationId xmlns:a16="http://schemas.microsoft.com/office/drawing/2014/main" id="{9E3F2712-E0E7-496E-8AC3-4F7E1143B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4572" y="4764729"/>
                <a:ext cx="4837112" cy="190500"/>
              </a:xfrm>
              <a:custGeom>
                <a:avLst/>
                <a:gdLst>
                  <a:gd name="T0" fmla="*/ 0 w 1524"/>
                  <a:gd name="T1" fmla="*/ 0 h 60"/>
                  <a:gd name="T2" fmla="*/ 0 w 1524"/>
                  <a:gd name="T3" fmla="*/ 4 h 60"/>
                  <a:gd name="T4" fmla="*/ 56 w 1524"/>
                  <a:gd name="T5" fmla="*/ 60 h 60"/>
                  <a:gd name="T6" fmla="*/ 1468 w 1524"/>
                  <a:gd name="T7" fmla="*/ 60 h 60"/>
                  <a:gd name="T8" fmla="*/ 1524 w 1524"/>
                  <a:gd name="T9" fmla="*/ 4 h 60"/>
                  <a:gd name="T10" fmla="*/ 1524 w 1524"/>
                  <a:gd name="T11" fmla="*/ 0 h 60"/>
                  <a:gd name="T12" fmla="*/ 0 w 1524"/>
                  <a:gd name="T13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24" h="60">
                    <a:moveTo>
                      <a:pt x="0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35"/>
                      <a:pt x="25" y="60"/>
                      <a:pt x="56" y="60"/>
                    </a:cubicBezTo>
                    <a:cubicBezTo>
                      <a:pt x="1468" y="60"/>
                      <a:pt x="1468" y="60"/>
                      <a:pt x="1468" y="60"/>
                    </a:cubicBezTo>
                    <a:cubicBezTo>
                      <a:pt x="1499" y="60"/>
                      <a:pt x="1524" y="35"/>
                      <a:pt x="1524" y="4"/>
                    </a:cubicBezTo>
                    <a:cubicBezTo>
                      <a:pt x="1524" y="0"/>
                      <a:pt x="1524" y="0"/>
                      <a:pt x="152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lumMod val="6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3441" tIns="36722" rIns="73441" bIns="36722" numCol="1" anchor="t" anchorCtr="0" compatLnSpc="1">
                <a:prstTxWarp prst="textNoShape">
                  <a:avLst/>
                </a:prstTxWarp>
              </a:bodyPr>
              <a:lstStyle/>
              <a:p>
                <a:pPr defTabSz="914355">
                  <a:defRPr/>
                </a:pPr>
                <a:endParaRPr lang="en-US" sz="2249">
                  <a:solidFill>
                    <a:srgbClr val="1A1A1A"/>
                  </a:solidFill>
                  <a:latin typeface="Segoe UI Semibold" panose="020B0702040204020203" pitchFamily="34" charset="0"/>
                </a:endParaRPr>
              </a:p>
            </p:txBody>
          </p:sp>
          <p:grpSp>
            <p:nvGrpSpPr>
              <p:cNvPr id="1199" name="Group 1198">
                <a:extLst>
                  <a:ext uri="{FF2B5EF4-FFF2-40B4-BE49-F238E27FC236}">
                    <a16:creationId xmlns:a16="http://schemas.microsoft.com/office/drawing/2014/main" id="{2B6022AA-7A52-4AFA-8506-70C8C4C6BC8D}"/>
                  </a:ext>
                </a:extLst>
              </p:cNvPr>
              <p:cNvGrpSpPr/>
              <p:nvPr/>
            </p:nvGrpSpPr>
            <p:grpSpPr>
              <a:xfrm>
                <a:off x="6321490" y="2150854"/>
                <a:ext cx="3748087" cy="2549525"/>
                <a:chOff x="6321490" y="2150854"/>
                <a:chExt cx="3748087" cy="2549525"/>
              </a:xfrm>
            </p:grpSpPr>
            <p:sp>
              <p:nvSpPr>
                <p:cNvPr id="1117" name="Rectangle 164">
                  <a:extLst>
                    <a:ext uri="{FF2B5EF4-FFF2-40B4-BE49-F238E27FC236}">
                      <a16:creationId xmlns:a16="http://schemas.microsoft.com/office/drawing/2014/main" id="{EC243A6B-3A0B-42AA-B9CC-3D4EBF12B9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21490" y="2150854"/>
                  <a:ext cx="3748087" cy="2549525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73441" tIns="36722" rIns="73441" bIns="3672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5">
                    <a:defRPr/>
                  </a:pPr>
                  <a:endParaRPr lang="en-US" sz="2249">
                    <a:solidFill>
                      <a:srgbClr val="1A1A1A"/>
                    </a:solidFill>
                    <a:latin typeface="Segoe UI Semibold" panose="020B0702040204020203" pitchFamily="34" charset="0"/>
                  </a:endParaRPr>
                </a:p>
              </p:txBody>
            </p:sp>
            <p:grpSp>
              <p:nvGrpSpPr>
                <p:cNvPr id="1198" name="Group 1197">
                  <a:extLst>
                    <a:ext uri="{FF2B5EF4-FFF2-40B4-BE49-F238E27FC236}">
                      <a16:creationId xmlns:a16="http://schemas.microsoft.com/office/drawing/2014/main" id="{9411A80A-C2A3-439B-B808-FD3B315EFDB0}"/>
                    </a:ext>
                  </a:extLst>
                </p:cNvPr>
                <p:cNvGrpSpPr/>
                <p:nvPr/>
              </p:nvGrpSpPr>
              <p:grpSpPr>
                <a:xfrm>
                  <a:off x="6448489" y="2208004"/>
                  <a:ext cx="3494088" cy="2378075"/>
                  <a:chOff x="6448489" y="2208004"/>
                  <a:chExt cx="3494088" cy="2378075"/>
                </a:xfrm>
              </p:grpSpPr>
              <p:sp>
                <p:nvSpPr>
                  <p:cNvPr id="1119" name="Rectangle 166">
                    <a:extLst>
                      <a:ext uri="{FF2B5EF4-FFF2-40B4-BE49-F238E27FC236}">
                        <a16:creationId xmlns:a16="http://schemas.microsoft.com/office/drawing/2014/main" id="{24DA9BE7-0342-4639-9C58-F6713256D02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448490" y="2350879"/>
                    <a:ext cx="3494087" cy="2235200"/>
                  </a:xfrm>
                  <a:prstGeom prst="rect">
                    <a:avLst/>
                  </a:pr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3441" tIns="36722" rIns="73441" bIns="3672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355">
                      <a:defRPr/>
                    </a:pPr>
                    <a:endParaRPr lang="en-US" sz="2249">
                      <a:solidFill>
                        <a:srgbClr val="1A1A1A"/>
                      </a:solidFill>
                      <a:latin typeface="Segoe UI Semibold" panose="020B0702040204020203" pitchFamily="34" charset="0"/>
                    </a:endParaRPr>
                  </a:p>
                </p:txBody>
              </p:sp>
              <p:grpSp>
                <p:nvGrpSpPr>
                  <p:cNvPr id="1197" name="Group 1196">
                    <a:extLst>
                      <a:ext uri="{FF2B5EF4-FFF2-40B4-BE49-F238E27FC236}">
                        <a16:creationId xmlns:a16="http://schemas.microsoft.com/office/drawing/2014/main" id="{1C567710-E178-4DC4-A81F-E719A2A3244A}"/>
                      </a:ext>
                    </a:extLst>
                  </p:cNvPr>
                  <p:cNvGrpSpPr/>
                  <p:nvPr/>
                </p:nvGrpSpPr>
                <p:grpSpPr>
                  <a:xfrm>
                    <a:off x="6448489" y="2208004"/>
                    <a:ext cx="3494088" cy="2378075"/>
                    <a:chOff x="6448489" y="2208004"/>
                    <a:chExt cx="3494088" cy="2378075"/>
                  </a:xfrm>
                </p:grpSpPr>
                <p:sp>
                  <p:nvSpPr>
                    <p:cNvPr id="1118" name="Oval 165">
                      <a:extLst>
                        <a:ext uri="{FF2B5EF4-FFF2-40B4-BE49-F238E27FC236}">
                          <a16:creationId xmlns:a16="http://schemas.microsoft.com/office/drawing/2014/main" id="{D58784F5-6510-495E-85DA-773F5A975D2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162990" y="2208004"/>
                      <a:ext cx="66675" cy="66675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3441" tIns="36722" rIns="73441" bIns="3672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55">
                        <a:defRPr/>
                      </a:pPr>
                      <a:endParaRPr lang="en-US" sz="2249">
                        <a:solidFill>
                          <a:srgbClr val="1A1A1A"/>
                        </a:solidFill>
                        <a:latin typeface="Segoe UI Semibold" panose="020B0702040204020203" pitchFamily="34" charset="0"/>
                      </a:endParaRPr>
                    </a:p>
                  </p:txBody>
                </p:sp>
                <p:grpSp>
                  <p:nvGrpSpPr>
                    <p:cNvPr id="1194" name="Group 1193">
                      <a:extLst>
                        <a:ext uri="{FF2B5EF4-FFF2-40B4-BE49-F238E27FC236}">
                          <a16:creationId xmlns:a16="http://schemas.microsoft.com/office/drawing/2014/main" id="{A6C9D70B-2ED2-4C25-A2A8-B2298EFEC49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448489" y="3061007"/>
                      <a:ext cx="3494088" cy="205860"/>
                      <a:chOff x="6448489" y="3001836"/>
                      <a:chExt cx="3494088" cy="205860"/>
                    </a:xfrm>
                  </p:grpSpPr>
                  <p:sp>
                    <p:nvSpPr>
                      <p:cNvPr id="268" name="Freeform 87">
                        <a:extLst>
                          <a:ext uri="{FF2B5EF4-FFF2-40B4-BE49-F238E27FC236}">
                            <a16:creationId xmlns:a16="http://schemas.microsoft.com/office/drawing/2014/main" id="{820BC94B-2BEF-431A-896A-CCBB4B1242C3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448489" y="3001836"/>
                        <a:ext cx="1702503" cy="205860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39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7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7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7 h 65"/>
                          <a:gd name="T32" fmla="*/ 181 w 526"/>
                          <a:gd name="T33" fmla="*/ 57 h 65"/>
                          <a:gd name="T34" fmla="*/ 223 w 526"/>
                          <a:gd name="T35" fmla="*/ 57 h 65"/>
                          <a:gd name="T36" fmla="*/ 190 w 526"/>
                          <a:gd name="T37" fmla="*/ 0 h 65"/>
                          <a:gd name="T38" fmla="*/ 214 w 526"/>
                          <a:gd name="T39" fmla="*/ 57 h 65"/>
                          <a:gd name="T40" fmla="*/ 267 w 526"/>
                          <a:gd name="T41" fmla="*/ 57 h 65"/>
                          <a:gd name="T42" fmla="*/ 242 w 526"/>
                          <a:gd name="T43" fmla="*/ 4 h 65"/>
                          <a:gd name="T44" fmla="*/ 258 w 526"/>
                          <a:gd name="T45" fmla="*/ 57 h 65"/>
                          <a:gd name="T46" fmla="*/ 246 w 526"/>
                          <a:gd name="T47" fmla="*/ 65 h 65"/>
                          <a:gd name="T48" fmla="*/ 283 w 526"/>
                          <a:gd name="T49" fmla="*/ 39 h 65"/>
                          <a:gd name="T50" fmla="*/ 275 w 526"/>
                          <a:gd name="T51" fmla="*/ 57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39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7 h 65"/>
                          <a:gd name="T82" fmla="*/ 484 w 526"/>
                          <a:gd name="T83" fmla="*/ 8 h 65"/>
                          <a:gd name="T84" fmla="*/ 517 w 526"/>
                          <a:gd name="T85" fmla="*/ 65 h 65"/>
                          <a:gd name="T86" fmla="*/ 517 w 526"/>
                          <a:gd name="T87" fmla="*/ 0 h 65"/>
                          <a:gd name="T88" fmla="*/ 517 w 526"/>
                          <a:gd name="T89" fmla="*/ 8 h 65"/>
                          <a:gd name="T90" fmla="*/ 493 w 526"/>
                          <a:gd name="T91" fmla="*/ 8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7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7"/>
                              <a:pt x="16" y="57"/>
                              <a:pt x="16" y="57"/>
                            </a:cubicBezTo>
                            <a:cubicBezTo>
                              <a:pt x="4" y="57"/>
                              <a:pt x="4" y="57"/>
                              <a:pt x="4" y="57"/>
                            </a:cubicBezTo>
                            <a:cubicBezTo>
                              <a:pt x="1" y="57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39"/>
                              <a:pt x="41" y="39"/>
                              <a:pt x="41" y="39"/>
                            </a:cubicBezTo>
                            <a:cubicBezTo>
                              <a:pt x="41" y="38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8"/>
                              <a:pt x="33" y="3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lnTo>
                              <a:pt x="25" y="57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7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39"/>
                              <a:pt x="162" y="39"/>
                              <a:pt x="162" y="39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39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7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39"/>
                              <a:pt x="283" y="39"/>
                              <a:pt x="283" y="39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39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7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39"/>
                              <a:pt x="404" y="39"/>
                              <a:pt x="404" y="39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39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7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493" y="0"/>
                            </a:moveTo>
                            <a:cubicBezTo>
                              <a:pt x="488" y="0"/>
                              <a:pt x="484" y="4"/>
                              <a:pt x="484" y="8"/>
                            </a:cubicBezTo>
                            <a:cubicBezTo>
                              <a:pt x="484" y="57"/>
                              <a:pt x="484" y="57"/>
                              <a:pt x="484" y="57"/>
                            </a:cubicBezTo>
                            <a:cubicBezTo>
                              <a:pt x="484" y="61"/>
                              <a:pt x="488" y="65"/>
                              <a:pt x="493" y="65"/>
                            </a:cubicBezTo>
                            <a:cubicBezTo>
                              <a:pt x="517" y="65"/>
                              <a:pt x="517" y="65"/>
                              <a:pt x="517" y="65"/>
                            </a:cubicBezTo>
                            <a:cubicBezTo>
                              <a:pt x="522" y="65"/>
                              <a:pt x="526" y="61"/>
                              <a:pt x="526" y="57"/>
                            </a:cubicBezTo>
                            <a:cubicBezTo>
                              <a:pt x="526" y="8"/>
                              <a:pt x="526" y="8"/>
                              <a:pt x="526" y="8"/>
                            </a:cubicBezTo>
                            <a:cubicBezTo>
                              <a:pt x="526" y="4"/>
                              <a:pt x="522" y="0"/>
                              <a:pt x="517" y="0"/>
                            </a:cubicBezTo>
                            <a:lnTo>
                              <a:pt x="493" y="0"/>
                            </a:lnTo>
                            <a:close/>
                            <a:moveTo>
                              <a:pt x="493" y="8"/>
                            </a:moveTo>
                            <a:cubicBezTo>
                              <a:pt x="517" y="8"/>
                              <a:pt x="517" y="8"/>
                              <a:pt x="517" y="8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cubicBezTo>
                              <a:pt x="493" y="57"/>
                              <a:pt x="493" y="57"/>
                              <a:pt x="493" y="57"/>
                            </a:cubicBezTo>
                            <a:lnTo>
                              <a:pt x="493" y="8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  <p:sp>
                    <p:nvSpPr>
                      <p:cNvPr id="271" name="Freeform 87">
                        <a:extLst>
                          <a:ext uri="{FF2B5EF4-FFF2-40B4-BE49-F238E27FC236}">
                            <a16:creationId xmlns:a16="http://schemas.microsoft.com/office/drawing/2014/main" id="{F37B7EEE-0796-4A27-8902-48E8AFD901CE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8240074" y="3001836"/>
                        <a:ext cx="1702503" cy="205860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39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7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7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7 h 65"/>
                          <a:gd name="T32" fmla="*/ 181 w 526"/>
                          <a:gd name="T33" fmla="*/ 57 h 65"/>
                          <a:gd name="T34" fmla="*/ 223 w 526"/>
                          <a:gd name="T35" fmla="*/ 57 h 65"/>
                          <a:gd name="T36" fmla="*/ 190 w 526"/>
                          <a:gd name="T37" fmla="*/ 0 h 65"/>
                          <a:gd name="T38" fmla="*/ 214 w 526"/>
                          <a:gd name="T39" fmla="*/ 57 h 65"/>
                          <a:gd name="T40" fmla="*/ 267 w 526"/>
                          <a:gd name="T41" fmla="*/ 57 h 65"/>
                          <a:gd name="T42" fmla="*/ 242 w 526"/>
                          <a:gd name="T43" fmla="*/ 4 h 65"/>
                          <a:gd name="T44" fmla="*/ 258 w 526"/>
                          <a:gd name="T45" fmla="*/ 57 h 65"/>
                          <a:gd name="T46" fmla="*/ 246 w 526"/>
                          <a:gd name="T47" fmla="*/ 65 h 65"/>
                          <a:gd name="T48" fmla="*/ 283 w 526"/>
                          <a:gd name="T49" fmla="*/ 39 h 65"/>
                          <a:gd name="T50" fmla="*/ 275 w 526"/>
                          <a:gd name="T51" fmla="*/ 57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39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7 h 65"/>
                          <a:gd name="T82" fmla="*/ 484 w 526"/>
                          <a:gd name="T83" fmla="*/ 8 h 65"/>
                          <a:gd name="T84" fmla="*/ 517 w 526"/>
                          <a:gd name="T85" fmla="*/ 65 h 65"/>
                          <a:gd name="T86" fmla="*/ 517 w 526"/>
                          <a:gd name="T87" fmla="*/ 0 h 65"/>
                          <a:gd name="T88" fmla="*/ 517 w 526"/>
                          <a:gd name="T89" fmla="*/ 8 h 65"/>
                          <a:gd name="T90" fmla="*/ 493 w 526"/>
                          <a:gd name="T91" fmla="*/ 8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7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7"/>
                              <a:pt x="16" y="57"/>
                              <a:pt x="16" y="57"/>
                            </a:cubicBezTo>
                            <a:cubicBezTo>
                              <a:pt x="4" y="57"/>
                              <a:pt x="4" y="57"/>
                              <a:pt x="4" y="57"/>
                            </a:cubicBezTo>
                            <a:cubicBezTo>
                              <a:pt x="1" y="57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39"/>
                              <a:pt x="41" y="39"/>
                              <a:pt x="41" y="39"/>
                            </a:cubicBezTo>
                            <a:cubicBezTo>
                              <a:pt x="41" y="38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8"/>
                              <a:pt x="33" y="3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lnTo>
                              <a:pt x="25" y="57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7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39"/>
                              <a:pt x="162" y="39"/>
                              <a:pt x="162" y="39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39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7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39"/>
                              <a:pt x="283" y="39"/>
                              <a:pt x="283" y="39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39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7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39"/>
                              <a:pt x="404" y="39"/>
                              <a:pt x="404" y="39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39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7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493" y="0"/>
                            </a:moveTo>
                            <a:cubicBezTo>
                              <a:pt x="488" y="0"/>
                              <a:pt x="484" y="4"/>
                              <a:pt x="484" y="8"/>
                            </a:cubicBezTo>
                            <a:cubicBezTo>
                              <a:pt x="484" y="57"/>
                              <a:pt x="484" y="57"/>
                              <a:pt x="484" y="57"/>
                            </a:cubicBezTo>
                            <a:cubicBezTo>
                              <a:pt x="484" y="61"/>
                              <a:pt x="488" y="65"/>
                              <a:pt x="493" y="65"/>
                            </a:cubicBezTo>
                            <a:cubicBezTo>
                              <a:pt x="517" y="65"/>
                              <a:pt x="517" y="65"/>
                              <a:pt x="517" y="65"/>
                            </a:cubicBezTo>
                            <a:cubicBezTo>
                              <a:pt x="522" y="65"/>
                              <a:pt x="526" y="61"/>
                              <a:pt x="526" y="57"/>
                            </a:cubicBezTo>
                            <a:cubicBezTo>
                              <a:pt x="526" y="8"/>
                              <a:pt x="526" y="8"/>
                              <a:pt x="526" y="8"/>
                            </a:cubicBezTo>
                            <a:cubicBezTo>
                              <a:pt x="526" y="4"/>
                              <a:pt x="522" y="0"/>
                              <a:pt x="517" y="0"/>
                            </a:cubicBezTo>
                            <a:lnTo>
                              <a:pt x="493" y="0"/>
                            </a:lnTo>
                            <a:close/>
                            <a:moveTo>
                              <a:pt x="493" y="8"/>
                            </a:moveTo>
                            <a:cubicBezTo>
                              <a:pt x="517" y="8"/>
                              <a:pt x="517" y="8"/>
                              <a:pt x="517" y="8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cubicBezTo>
                              <a:pt x="493" y="57"/>
                              <a:pt x="493" y="57"/>
                              <a:pt x="493" y="57"/>
                            </a:cubicBezTo>
                            <a:lnTo>
                              <a:pt x="493" y="8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</p:grpSp>
                <p:grpSp>
                  <p:nvGrpSpPr>
                    <p:cNvPr id="1195" name="Group 1194">
                      <a:extLst>
                        <a:ext uri="{FF2B5EF4-FFF2-40B4-BE49-F238E27FC236}">
                          <a16:creationId xmlns:a16="http://schemas.microsoft.com/office/drawing/2014/main" id="{DB32AEA5-F90C-4CD6-9D3E-B941E5C8009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448489" y="2728424"/>
                      <a:ext cx="3494088" cy="211421"/>
                      <a:chOff x="6448489" y="2673574"/>
                      <a:chExt cx="3494088" cy="211421"/>
                    </a:xfrm>
                  </p:grpSpPr>
                  <p:sp>
                    <p:nvSpPr>
                      <p:cNvPr id="269" name="Freeform 88">
                        <a:extLst>
                          <a:ext uri="{FF2B5EF4-FFF2-40B4-BE49-F238E27FC236}">
                            <a16:creationId xmlns:a16="http://schemas.microsoft.com/office/drawing/2014/main" id="{79C90842-AE30-4698-B730-5B7EBD462302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448489" y="2673574"/>
                        <a:ext cx="1702503" cy="211421"/>
                      </a:xfrm>
                      <a:custGeom>
                        <a:avLst/>
                        <a:gdLst>
                          <a:gd name="T0" fmla="*/ 0 w 526"/>
                          <a:gd name="T1" fmla="*/ 57 h 65"/>
                          <a:gd name="T2" fmla="*/ 41 w 526"/>
                          <a:gd name="T3" fmla="*/ 57 h 65"/>
                          <a:gd name="T4" fmla="*/ 7 w 526"/>
                          <a:gd name="T5" fmla="*/ 0 h 65"/>
                          <a:gd name="T6" fmla="*/ 33 w 526"/>
                          <a:gd name="T7" fmla="*/ 57 h 65"/>
                          <a:gd name="T8" fmla="*/ 68 w 526"/>
                          <a:gd name="T9" fmla="*/ 0 h 65"/>
                          <a:gd name="T10" fmla="*/ 68 w 526"/>
                          <a:gd name="T11" fmla="*/ 65 h 65"/>
                          <a:gd name="T12" fmla="*/ 101 w 526"/>
                          <a:gd name="T13" fmla="*/ 9 h 65"/>
                          <a:gd name="T14" fmla="*/ 68 w 526"/>
                          <a:gd name="T15" fmla="*/ 9 h 65"/>
                          <a:gd name="T16" fmla="*/ 68 w 526"/>
                          <a:gd name="T17" fmla="*/ 57 h 65"/>
                          <a:gd name="T18" fmla="*/ 145 w 526"/>
                          <a:gd name="T19" fmla="*/ 0 h 65"/>
                          <a:gd name="T20" fmla="*/ 125 w 526"/>
                          <a:gd name="T21" fmla="*/ 9 h 65"/>
                          <a:gd name="T22" fmla="*/ 125 w 526"/>
                          <a:gd name="T23" fmla="*/ 57 h 65"/>
                          <a:gd name="T24" fmla="*/ 158 w 526"/>
                          <a:gd name="T25" fmla="*/ 65 h 65"/>
                          <a:gd name="T26" fmla="*/ 158 w 526"/>
                          <a:gd name="T27" fmla="*/ 36 h 65"/>
                          <a:gd name="T28" fmla="*/ 145 w 526"/>
                          <a:gd name="T29" fmla="*/ 57 h 65"/>
                          <a:gd name="T30" fmla="*/ 181 w 526"/>
                          <a:gd name="T31" fmla="*/ 57 h 65"/>
                          <a:gd name="T32" fmla="*/ 223 w 526"/>
                          <a:gd name="T33" fmla="*/ 57 h 65"/>
                          <a:gd name="T34" fmla="*/ 190 w 526"/>
                          <a:gd name="T35" fmla="*/ 0 h 65"/>
                          <a:gd name="T36" fmla="*/ 214 w 526"/>
                          <a:gd name="T37" fmla="*/ 57 h 65"/>
                          <a:gd name="T38" fmla="*/ 267 w 526"/>
                          <a:gd name="T39" fmla="*/ 57 h 65"/>
                          <a:gd name="T40" fmla="*/ 242 w 526"/>
                          <a:gd name="T41" fmla="*/ 5 h 65"/>
                          <a:gd name="T42" fmla="*/ 258 w 526"/>
                          <a:gd name="T43" fmla="*/ 57 h 65"/>
                          <a:gd name="T44" fmla="*/ 246 w 526"/>
                          <a:gd name="T45" fmla="*/ 65 h 65"/>
                          <a:gd name="T46" fmla="*/ 283 w 526"/>
                          <a:gd name="T47" fmla="*/ 40 h 65"/>
                          <a:gd name="T48" fmla="*/ 275 w 526"/>
                          <a:gd name="T49" fmla="*/ 57 h 65"/>
                          <a:gd name="T50" fmla="*/ 303 w 526"/>
                          <a:gd name="T51" fmla="*/ 9 h 65"/>
                          <a:gd name="T52" fmla="*/ 336 w 526"/>
                          <a:gd name="T53" fmla="*/ 65 h 65"/>
                          <a:gd name="T54" fmla="*/ 336 w 526"/>
                          <a:gd name="T55" fmla="*/ 0 h 65"/>
                          <a:gd name="T56" fmla="*/ 336 w 526"/>
                          <a:gd name="T57" fmla="*/ 9 h 65"/>
                          <a:gd name="T58" fmla="*/ 310 w 526"/>
                          <a:gd name="T59" fmla="*/ 9 h 65"/>
                          <a:gd name="T60" fmla="*/ 367 w 526"/>
                          <a:gd name="T61" fmla="*/ 0 h 65"/>
                          <a:gd name="T62" fmla="*/ 380 w 526"/>
                          <a:gd name="T63" fmla="*/ 9 h 65"/>
                          <a:gd name="T64" fmla="*/ 363 w 526"/>
                          <a:gd name="T65" fmla="*/ 61 h 65"/>
                          <a:gd name="T66" fmla="*/ 404 w 526"/>
                          <a:gd name="T67" fmla="*/ 61 h 65"/>
                          <a:gd name="T68" fmla="*/ 396 w 526"/>
                          <a:gd name="T69" fmla="*/ 40 h 65"/>
                          <a:gd name="T70" fmla="*/ 432 w 526"/>
                          <a:gd name="T71" fmla="*/ 0 h 65"/>
                          <a:gd name="T72" fmla="*/ 432 w 526"/>
                          <a:gd name="T73" fmla="*/ 65 h 65"/>
                          <a:gd name="T74" fmla="*/ 465 w 526"/>
                          <a:gd name="T75" fmla="*/ 9 h 65"/>
                          <a:gd name="T76" fmla="*/ 432 w 526"/>
                          <a:gd name="T77" fmla="*/ 9 h 65"/>
                          <a:gd name="T78" fmla="*/ 432 w 526"/>
                          <a:gd name="T79" fmla="*/ 57 h 65"/>
                          <a:gd name="T80" fmla="*/ 509 w 526"/>
                          <a:gd name="T81" fmla="*/ 0 h 65"/>
                          <a:gd name="T82" fmla="*/ 488 w 526"/>
                          <a:gd name="T83" fmla="*/ 9 h 65"/>
                          <a:gd name="T84" fmla="*/ 488 w 526"/>
                          <a:gd name="T85" fmla="*/ 57 h 65"/>
                          <a:gd name="T86" fmla="*/ 521 w 526"/>
                          <a:gd name="T87" fmla="*/ 65 h 65"/>
                          <a:gd name="T88" fmla="*/ 521 w 526"/>
                          <a:gd name="T89" fmla="*/ 36 h 65"/>
                          <a:gd name="T90" fmla="*/ 509 w 526"/>
                          <a:gd name="T91" fmla="*/ 57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7" y="0"/>
                            </a:moveTo>
                            <a:cubicBezTo>
                              <a:pt x="3" y="0"/>
                              <a:pt x="0" y="4"/>
                              <a:pt x="0" y="9"/>
                            </a:cubicBezTo>
                            <a:cubicBezTo>
                              <a:pt x="0" y="57"/>
                              <a:pt x="0" y="57"/>
                              <a:pt x="0" y="57"/>
                            </a:cubicBezTo>
                            <a:cubicBezTo>
                              <a:pt x="0" y="62"/>
                              <a:pt x="3" y="65"/>
                              <a:pt x="7" y="65"/>
                            </a:cubicBezTo>
                            <a:cubicBezTo>
                              <a:pt x="33" y="65"/>
                              <a:pt x="33" y="65"/>
                              <a:pt x="33" y="65"/>
                            </a:cubicBezTo>
                            <a:cubicBezTo>
                              <a:pt x="37" y="65"/>
                              <a:pt x="41" y="62"/>
                              <a:pt x="41" y="57"/>
                            </a:cubicBezTo>
                            <a:cubicBezTo>
                              <a:pt x="41" y="9"/>
                              <a:pt x="41" y="9"/>
                              <a:pt x="41" y="9"/>
                            </a:cubicBezTo>
                            <a:cubicBezTo>
                              <a:pt x="41" y="4"/>
                              <a:pt x="37" y="0"/>
                              <a:pt x="33" y="0"/>
                            </a:cubicBezTo>
                            <a:lnTo>
                              <a:pt x="7" y="0"/>
                            </a:lnTo>
                            <a:close/>
                            <a:moveTo>
                              <a:pt x="7" y="9"/>
                            </a:moveTo>
                            <a:cubicBezTo>
                              <a:pt x="33" y="9"/>
                              <a:pt x="33" y="9"/>
                              <a:pt x="33" y="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cubicBezTo>
                              <a:pt x="7" y="57"/>
                              <a:pt x="7" y="57"/>
                              <a:pt x="7" y="57"/>
                            </a:cubicBezTo>
                            <a:lnTo>
                              <a:pt x="7" y="9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9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2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2"/>
                              <a:pt x="101" y="57"/>
                            </a:cubicBezTo>
                            <a:cubicBezTo>
                              <a:pt x="101" y="9"/>
                              <a:pt x="101" y="9"/>
                              <a:pt x="101" y="9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9"/>
                            </a:moveTo>
                            <a:cubicBezTo>
                              <a:pt x="93" y="9"/>
                              <a:pt x="93" y="9"/>
                              <a:pt x="93" y="9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9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5"/>
                            </a:cubicBezTo>
                            <a:cubicBezTo>
                              <a:pt x="120" y="7"/>
                              <a:pt x="123" y="9"/>
                              <a:pt x="125" y="9"/>
                            </a:cubicBezTo>
                            <a:cubicBezTo>
                              <a:pt x="137" y="9"/>
                              <a:pt x="137" y="9"/>
                              <a:pt x="137" y="9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40"/>
                              <a:pt x="162" y="40"/>
                              <a:pt x="162" y="40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40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9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2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2"/>
                              <a:pt x="223" y="57"/>
                            </a:cubicBezTo>
                            <a:cubicBezTo>
                              <a:pt x="223" y="9"/>
                              <a:pt x="223" y="9"/>
                              <a:pt x="223" y="9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9"/>
                            </a:moveTo>
                            <a:cubicBezTo>
                              <a:pt x="214" y="9"/>
                              <a:pt x="214" y="9"/>
                              <a:pt x="214" y="9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9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5"/>
                            </a:cubicBezTo>
                            <a:cubicBezTo>
                              <a:pt x="242" y="7"/>
                              <a:pt x="244" y="9"/>
                              <a:pt x="246" y="9"/>
                            </a:cubicBezTo>
                            <a:cubicBezTo>
                              <a:pt x="258" y="9"/>
                              <a:pt x="258" y="9"/>
                              <a:pt x="258" y="9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40"/>
                              <a:pt x="283" y="40"/>
                              <a:pt x="283" y="40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40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9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2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2"/>
                              <a:pt x="344" y="57"/>
                            </a:cubicBezTo>
                            <a:cubicBezTo>
                              <a:pt x="344" y="9"/>
                              <a:pt x="344" y="9"/>
                              <a:pt x="344" y="9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9"/>
                            </a:moveTo>
                            <a:cubicBezTo>
                              <a:pt x="336" y="9"/>
                              <a:pt x="336" y="9"/>
                              <a:pt x="336" y="9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9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5"/>
                            </a:cubicBezTo>
                            <a:cubicBezTo>
                              <a:pt x="363" y="7"/>
                              <a:pt x="365" y="9"/>
                              <a:pt x="367" y="9"/>
                            </a:cubicBezTo>
                            <a:cubicBezTo>
                              <a:pt x="380" y="9"/>
                              <a:pt x="380" y="9"/>
                              <a:pt x="380" y="9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40"/>
                              <a:pt x="404" y="40"/>
                              <a:pt x="404" y="40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40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9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2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2"/>
                              <a:pt x="465" y="57"/>
                            </a:cubicBezTo>
                            <a:cubicBezTo>
                              <a:pt x="465" y="9"/>
                              <a:pt x="465" y="9"/>
                              <a:pt x="465" y="9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9"/>
                            </a:moveTo>
                            <a:cubicBezTo>
                              <a:pt x="457" y="9"/>
                              <a:pt x="457" y="9"/>
                              <a:pt x="457" y="9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9"/>
                            </a:lnTo>
                            <a:close/>
                            <a:moveTo>
                              <a:pt x="509" y="57"/>
                            </a:moveTo>
                            <a:cubicBezTo>
                              <a:pt x="509" y="0"/>
                              <a:pt x="509" y="0"/>
                              <a:pt x="509" y="0"/>
                            </a:cubicBezTo>
                            <a:cubicBezTo>
                              <a:pt x="488" y="0"/>
                              <a:pt x="488" y="0"/>
                              <a:pt x="488" y="0"/>
                            </a:cubicBezTo>
                            <a:cubicBezTo>
                              <a:pt x="486" y="0"/>
                              <a:pt x="484" y="1"/>
                              <a:pt x="484" y="5"/>
                            </a:cubicBezTo>
                            <a:cubicBezTo>
                              <a:pt x="484" y="7"/>
                              <a:pt x="486" y="9"/>
                              <a:pt x="488" y="9"/>
                            </a:cubicBezTo>
                            <a:cubicBezTo>
                              <a:pt x="500" y="9"/>
                              <a:pt x="500" y="9"/>
                              <a:pt x="500" y="9"/>
                            </a:cubicBezTo>
                            <a:cubicBezTo>
                              <a:pt x="500" y="57"/>
                              <a:pt x="500" y="57"/>
                              <a:pt x="500" y="57"/>
                            </a:cubicBezTo>
                            <a:cubicBezTo>
                              <a:pt x="488" y="57"/>
                              <a:pt x="488" y="57"/>
                              <a:pt x="488" y="57"/>
                            </a:cubicBezTo>
                            <a:cubicBezTo>
                              <a:pt x="486" y="57"/>
                              <a:pt x="484" y="58"/>
                              <a:pt x="484" y="61"/>
                            </a:cubicBezTo>
                            <a:cubicBezTo>
                              <a:pt x="484" y="64"/>
                              <a:pt x="486" y="65"/>
                              <a:pt x="488" y="65"/>
                            </a:cubicBezTo>
                            <a:cubicBezTo>
                              <a:pt x="521" y="65"/>
                              <a:pt x="521" y="65"/>
                              <a:pt x="521" y="65"/>
                            </a:cubicBezTo>
                            <a:cubicBezTo>
                              <a:pt x="524" y="65"/>
                              <a:pt x="526" y="64"/>
                              <a:pt x="526" y="61"/>
                            </a:cubicBezTo>
                            <a:cubicBezTo>
                              <a:pt x="526" y="40"/>
                              <a:pt x="526" y="40"/>
                              <a:pt x="526" y="40"/>
                            </a:cubicBezTo>
                            <a:cubicBezTo>
                              <a:pt x="526" y="38"/>
                              <a:pt x="525" y="36"/>
                              <a:pt x="521" y="36"/>
                            </a:cubicBezTo>
                            <a:cubicBezTo>
                              <a:pt x="519" y="36"/>
                              <a:pt x="517" y="38"/>
                              <a:pt x="517" y="40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lnTo>
                              <a:pt x="509" y="57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  <p:sp>
                    <p:nvSpPr>
                      <p:cNvPr id="272" name="Freeform 88">
                        <a:extLst>
                          <a:ext uri="{FF2B5EF4-FFF2-40B4-BE49-F238E27FC236}">
                            <a16:creationId xmlns:a16="http://schemas.microsoft.com/office/drawing/2014/main" id="{DE2CD7FD-AE81-4AB7-8DE6-0FFD4C939BC1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8240074" y="2673574"/>
                        <a:ext cx="1702503" cy="211421"/>
                      </a:xfrm>
                      <a:custGeom>
                        <a:avLst/>
                        <a:gdLst>
                          <a:gd name="T0" fmla="*/ 0 w 526"/>
                          <a:gd name="T1" fmla="*/ 57 h 65"/>
                          <a:gd name="T2" fmla="*/ 41 w 526"/>
                          <a:gd name="T3" fmla="*/ 57 h 65"/>
                          <a:gd name="T4" fmla="*/ 7 w 526"/>
                          <a:gd name="T5" fmla="*/ 0 h 65"/>
                          <a:gd name="T6" fmla="*/ 33 w 526"/>
                          <a:gd name="T7" fmla="*/ 57 h 65"/>
                          <a:gd name="T8" fmla="*/ 68 w 526"/>
                          <a:gd name="T9" fmla="*/ 0 h 65"/>
                          <a:gd name="T10" fmla="*/ 68 w 526"/>
                          <a:gd name="T11" fmla="*/ 65 h 65"/>
                          <a:gd name="T12" fmla="*/ 101 w 526"/>
                          <a:gd name="T13" fmla="*/ 9 h 65"/>
                          <a:gd name="T14" fmla="*/ 68 w 526"/>
                          <a:gd name="T15" fmla="*/ 9 h 65"/>
                          <a:gd name="T16" fmla="*/ 68 w 526"/>
                          <a:gd name="T17" fmla="*/ 57 h 65"/>
                          <a:gd name="T18" fmla="*/ 145 w 526"/>
                          <a:gd name="T19" fmla="*/ 0 h 65"/>
                          <a:gd name="T20" fmla="*/ 125 w 526"/>
                          <a:gd name="T21" fmla="*/ 9 h 65"/>
                          <a:gd name="T22" fmla="*/ 125 w 526"/>
                          <a:gd name="T23" fmla="*/ 57 h 65"/>
                          <a:gd name="T24" fmla="*/ 158 w 526"/>
                          <a:gd name="T25" fmla="*/ 65 h 65"/>
                          <a:gd name="T26" fmla="*/ 158 w 526"/>
                          <a:gd name="T27" fmla="*/ 36 h 65"/>
                          <a:gd name="T28" fmla="*/ 145 w 526"/>
                          <a:gd name="T29" fmla="*/ 57 h 65"/>
                          <a:gd name="T30" fmla="*/ 181 w 526"/>
                          <a:gd name="T31" fmla="*/ 57 h 65"/>
                          <a:gd name="T32" fmla="*/ 223 w 526"/>
                          <a:gd name="T33" fmla="*/ 57 h 65"/>
                          <a:gd name="T34" fmla="*/ 190 w 526"/>
                          <a:gd name="T35" fmla="*/ 0 h 65"/>
                          <a:gd name="T36" fmla="*/ 214 w 526"/>
                          <a:gd name="T37" fmla="*/ 57 h 65"/>
                          <a:gd name="T38" fmla="*/ 267 w 526"/>
                          <a:gd name="T39" fmla="*/ 57 h 65"/>
                          <a:gd name="T40" fmla="*/ 242 w 526"/>
                          <a:gd name="T41" fmla="*/ 5 h 65"/>
                          <a:gd name="T42" fmla="*/ 258 w 526"/>
                          <a:gd name="T43" fmla="*/ 57 h 65"/>
                          <a:gd name="T44" fmla="*/ 246 w 526"/>
                          <a:gd name="T45" fmla="*/ 65 h 65"/>
                          <a:gd name="T46" fmla="*/ 283 w 526"/>
                          <a:gd name="T47" fmla="*/ 40 h 65"/>
                          <a:gd name="T48" fmla="*/ 275 w 526"/>
                          <a:gd name="T49" fmla="*/ 57 h 65"/>
                          <a:gd name="T50" fmla="*/ 303 w 526"/>
                          <a:gd name="T51" fmla="*/ 9 h 65"/>
                          <a:gd name="T52" fmla="*/ 336 w 526"/>
                          <a:gd name="T53" fmla="*/ 65 h 65"/>
                          <a:gd name="T54" fmla="*/ 336 w 526"/>
                          <a:gd name="T55" fmla="*/ 0 h 65"/>
                          <a:gd name="T56" fmla="*/ 336 w 526"/>
                          <a:gd name="T57" fmla="*/ 9 h 65"/>
                          <a:gd name="T58" fmla="*/ 310 w 526"/>
                          <a:gd name="T59" fmla="*/ 9 h 65"/>
                          <a:gd name="T60" fmla="*/ 367 w 526"/>
                          <a:gd name="T61" fmla="*/ 0 h 65"/>
                          <a:gd name="T62" fmla="*/ 380 w 526"/>
                          <a:gd name="T63" fmla="*/ 9 h 65"/>
                          <a:gd name="T64" fmla="*/ 363 w 526"/>
                          <a:gd name="T65" fmla="*/ 61 h 65"/>
                          <a:gd name="T66" fmla="*/ 404 w 526"/>
                          <a:gd name="T67" fmla="*/ 61 h 65"/>
                          <a:gd name="T68" fmla="*/ 396 w 526"/>
                          <a:gd name="T69" fmla="*/ 40 h 65"/>
                          <a:gd name="T70" fmla="*/ 432 w 526"/>
                          <a:gd name="T71" fmla="*/ 0 h 65"/>
                          <a:gd name="T72" fmla="*/ 432 w 526"/>
                          <a:gd name="T73" fmla="*/ 65 h 65"/>
                          <a:gd name="T74" fmla="*/ 465 w 526"/>
                          <a:gd name="T75" fmla="*/ 9 h 65"/>
                          <a:gd name="T76" fmla="*/ 432 w 526"/>
                          <a:gd name="T77" fmla="*/ 9 h 65"/>
                          <a:gd name="T78" fmla="*/ 432 w 526"/>
                          <a:gd name="T79" fmla="*/ 57 h 65"/>
                          <a:gd name="T80" fmla="*/ 509 w 526"/>
                          <a:gd name="T81" fmla="*/ 0 h 65"/>
                          <a:gd name="T82" fmla="*/ 488 w 526"/>
                          <a:gd name="T83" fmla="*/ 9 h 65"/>
                          <a:gd name="T84" fmla="*/ 488 w 526"/>
                          <a:gd name="T85" fmla="*/ 57 h 65"/>
                          <a:gd name="T86" fmla="*/ 521 w 526"/>
                          <a:gd name="T87" fmla="*/ 65 h 65"/>
                          <a:gd name="T88" fmla="*/ 521 w 526"/>
                          <a:gd name="T89" fmla="*/ 36 h 65"/>
                          <a:gd name="T90" fmla="*/ 509 w 526"/>
                          <a:gd name="T91" fmla="*/ 57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7" y="0"/>
                            </a:moveTo>
                            <a:cubicBezTo>
                              <a:pt x="3" y="0"/>
                              <a:pt x="0" y="4"/>
                              <a:pt x="0" y="9"/>
                            </a:cubicBezTo>
                            <a:cubicBezTo>
                              <a:pt x="0" y="57"/>
                              <a:pt x="0" y="57"/>
                              <a:pt x="0" y="57"/>
                            </a:cubicBezTo>
                            <a:cubicBezTo>
                              <a:pt x="0" y="62"/>
                              <a:pt x="3" y="65"/>
                              <a:pt x="7" y="65"/>
                            </a:cubicBezTo>
                            <a:cubicBezTo>
                              <a:pt x="33" y="65"/>
                              <a:pt x="33" y="65"/>
                              <a:pt x="33" y="65"/>
                            </a:cubicBezTo>
                            <a:cubicBezTo>
                              <a:pt x="37" y="65"/>
                              <a:pt x="41" y="62"/>
                              <a:pt x="41" y="57"/>
                            </a:cubicBezTo>
                            <a:cubicBezTo>
                              <a:pt x="41" y="9"/>
                              <a:pt x="41" y="9"/>
                              <a:pt x="41" y="9"/>
                            </a:cubicBezTo>
                            <a:cubicBezTo>
                              <a:pt x="41" y="4"/>
                              <a:pt x="37" y="0"/>
                              <a:pt x="33" y="0"/>
                            </a:cubicBezTo>
                            <a:lnTo>
                              <a:pt x="7" y="0"/>
                            </a:lnTo>
                            <a:close/>
                            <a:moveTo>
                              <a:pt x="7" y="9"/>
                            </a:moveTo>
                            <a:cubicBezTo>
                              <a:pt x="33" y="9"/>
                              <a:pt x="33" y="9"/>
                              <a:pt x="33" y="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cubicBezTo>
                              <a:pt x="7" y="57"/>
                              <a:pt x="7" y="57"/>
                              <a:pt x="7" y="57"/>
                            </a:cubicBezTo>
                            <a:lnTo>
                              <a:pt x="7" y="9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9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2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2"/>
                              <a:pt x="101" y="57"/>
                            </a:cubicBezTo>
                            <a:cubicBezTo>
                              <a:pt x="101" y="9"/>
                              <a:pt x="101" y="9"/>
                              <a:pt x="101" y="9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9"/>
                            </a:moveTo>
                            <a:cubicBezTo>
                              <a:pt x="93" y="9"/>
                              <a:pt x="93" y="9"/>
                              <a:pt x="93" y="9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9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5"/>
                            </a:cubicBezTo>
                            <a:cubicBezTo>
                              <a:pt x="120" y="7"/>
                              <a:pt x="123" y="9"/>
                              <a:pt x="125" y="9"/>
                            </a:cubicBezTo>
                            <a:cubicBezTo>
                              <a:pt x="137" y="9"/>
                              <a:pt x="137" y="9"/>
                              <a:pt x="137" y="9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40"/>
                              <a:pt x="162" y="40"/>
                              <a:pt x="162" y="40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40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9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2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2"/>
                              <a:pt x="223" y="57"/>
                            </a:cubicBezTo>
                            <a:cubicBezTo>
                              <a:pt x="223" y="9"/>
                              <a:pt x="223" y="9"/>
                              <a:pt x="223" y="9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9"/>
                            </a:moveTo>
                            <a:cubicBezTo>
                              <a:pt x="214" y="9"/>
                              <a:pt x="214" y="9"/>
                              <a:pt x="214" y="9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9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5"/>
                            </a:cubicBezTo>
                            <a:cubicBezTo>
                              <a:pt x="242" y="7"/>
                              <a:pt x="244" y="9"/>
                              <a:pt x="246" y="9"/>
                            </a:cubicBezTo>
                            <a:cubicBezTo>
                              <a:pt x="258" y="9"/>
                              <a:pt x="258" y="9"/>
                              <a:pt x="258" y="9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40"/>
                              <a:pt x="283" y="40"/>
                              <a:pt x="283" y="40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40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9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2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2"/>
                              <a:pt x="344" y="57"/>
                            </a:cubicBezTo>
                            <a:cubicBezTo>
                              <a:pt x="344" y="9"/>
                              <a:pt x="344" y="9"/>
                              <a:pt x="344" y="9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9"/>
                            </a:moveTo>
                            <a:cubicBezTo>
                              <a:pt x="336" y="9"/>
                              <a:pt x="336" y="9"/>
                              <a:pt x="336" y="9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9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5"/>
                            </a:cubicBezTo>
                            <a:cubicBezTo>
                              <a:pt x="363" y="7"/>
                              <a:pt x="365" y="9"/>
                              <a:pt x="367" y="9"/>
                            </a:cubicBezTo>
                            <a:cubicBezTo>
                              <a:pt x="380" y="9"/>
                              <a:pt x="380" y="9"/>
                              <a:pt x="380" y="9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40"/>
                              <a:pt x="404" y="40"/>
                              <a:pt x="404" y="40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40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9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2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2"/>
                              <a:pt x="465" y="57"/>
                            </a:cubicBezTo>
                            <a:cubicBezTo>
                              <a:pt x="465" y="9"/>
                              <a:pt x="465" y="9"/>
                              <a:pt x="465" y="9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9"/>
                            </a:moveTo>
                            <a:cubicBezTo>
                              <a:pt x="457" y="9"/>
                              <a:pt x="457" y="9"/>
                              <a:pt x="457" y="9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9"/>
                            </a:lnTo>
                            <a:close/>
                            <a:moveTo>
                              <a:pt x="509" y="57"/>
                            </a:moveTo>
                            <a:cubicBezTo>
                              <a:pt x="509" y="0"/>
                              <a:pt x="509" y="0"/>
                              <a:pt x="509" y="0"/>
                            </a:cubicBezTo>
                            <a:cubicBezTo>
                              <a:pt x="488" y="0"/>
                              <a:pt x="488" y="0"/>
                              <a:pt x="488" y="0"/>
                            </a:cubicBezTo>
                            <a:cubicBezTo>
                              <a:pt x="486" y="0"/>
                              <a:pt x="484" y="1"/>
                              <a:pt x="484" y="5"/>
                            </a:cubicBezTo>
                            <a:cubicBezTo>
                              <a:pt x="484" y="7"/>
                              <a:pt x="486" y="9"/>
                              <a:pt x="488" y="9"/>
                            </a:cubicBezTo>
                            <a:cubicBezTo>
                              <a:pt x="500" y="9"/>
                              <a:pt x="500" y="9"/>
                              <a:pt x="500" y="9"/>
                            </a:cubicBezTo>
                            <a:cubicBezTo>
                              <a:pt x="500" y="57"/>
                              <a:pt x="500" y="57"/>
                              <a:pt x="500" y="57"/>
                            </a:cubicBezTo>
                            <a:cubicBezTo>
                              <a:pt x="488" y="57"/>
                              <a:pt x="488" y="57"/>
                              <a:pt x="488" y="57"/>
                            </a:cubicBezTo>
                            <a:cubicBezTo>
                              <a:pt x="486" y="57"/>
                              <a:pt x="484" y="58"/>
                              <a:pt x="484" y="61"/>
                            </a:cubicBezTo>
                            <a:cubicBezTo>
                              <a:pt x="484" y="64"/>
                              <a:pt x="486" y="65"/>
                              <a:pt x="488" y="65"/>
                            </a:cubicBezTo>
                            <a:cubicBezTo>
                              <a:pt x="521" y="65"/>
                              <a:pt x="521" y="65"/>
                              <a:pt x="521" y="65"/>
                            </a:cubicBezTo>
                            <a:cubicBezTo>
                              <a:pt x="524" y="65"/>
                              <a:pt x="526" y="64"/>
                              <a:pt x="526" y="61"/>
                            </a:cubicBezTo>
                            <a:cubicBezTo>
                              <a:pt x="526" y="40"/>
                              <a:pt x="526" y="40"/>
                              <a:pt x="526" y="40"/>
                            </a:cubicBezTo>
                            <a:cubicBezTo>
                              <a:pt x="526" y="38"/>
                              <a:pt x="525" y="36"/>
                              <a:pt x="521" y="36"/>
                            </a:cubicBezTo>
                            <a:cubicBezTo>
                              <a:pt x="519" y="36"/>
                              <a:pt x="517" y="38"/>
                              <a:pt x="517" y="40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lnTo>
                              <a:pt x="509" y="57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</p:grpSp>
                <p:grpSp>
                  <p:nvGrpSpPr>
                    <p:cNvPr id="1196" name="Group 1195">
                      <a:extLst>
                        <a:ext uri="{FF2B5EF4-FFF2-40B4-BE49-F238E27FC236}">
                          <a16:creationId xmlns:a16="http://schemas.microsoft.com/office/drawing/2014/main" id="{AC633AD2-6BED-4C1E-82E8-E4B6209C22E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448489" y="2395841"/>
                      <a:ext cx="3494088" cy="211421"/>
                      <a:chOff x="6448489" y="2350878"/>
                      <a:chExt cx="3494088" cy="211421"/>
                    </a:xfrm>
                  </p:grpSpPr>
                  <p:sp>
                    <p:nvSpPr>
                      <p:cNvPr id="270" name="Freeform 89">
                        <a:extLst>
                          <a:ext uri="{FF2B5EF4-FFF2-40B4-BE49-F238E27FC236}">
                            <a16:creationId xmlns:a16="http://schemas.microsoft.com/office/drawing/2014/main" id="{DC25878A-6EC6-42DB-A53E-296C240DAABA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448489" y="2350878"/>
                        <a:ext cx="1702503" cy="211421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40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6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6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6 h 65"/>
                          <a:gd name="T32" fmla="*/ 181 w 526"/>
                          <a:gd name="T33" fmla="*/ 56 h 65"/>
                          <a:gd name="T34" fmla="*/ 223 w 526"/>
                          <a:gd name="T35" fmla="*/ 56 h 65"/>
                          <a:gd name="T36" fmla="*/ 190 w 526"/>
                          <a:gd name="T37" fmla="*/ 0 h 65"/>
                          <a:gd name="T38" fmla="*/ 214 w 526"/>
                          <a:gd name="T39" fmla="*/ 56 h 65"/>
                          <a:gd name="T40" fmla="*/ 267 w 526"/>
                          <a:gd name="T41" fmla="*/ 56 h 65"/>
                          <a:gd name="T42" fmla="*/ 242 w 526"/>
                          <a:gd name="T43" fmla="*/ 4 h 65"/>
                          <a:gd name="T44" fmla="*/ 258 w 526"/>
                          <a:gd name="T45" fmla="*/ 56 h 65"/>
                          <a:gd name="T46" fmla="*/ 246 w 526"/>
                          <a:gd name="T47" fmla="*/ 65 h 65"/>
                          <a:gd name="T48" fmla="*/ 283 w 526"/>
                          <a:gd name="T49" fmla="*/ 40 h 65"/>
                          <a:gd name="T50" fmla="*/ 275 w 526"/>
                          <a:gd name="T51" fmla="*/ 56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40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6 h 65"/>
                          <a:gd name="T82" fmla="*/ 509 w 526"/>
                          <a:gd name="T83" fmla="*/ 0 h 65"/>
                          <a:gd name="T84" fmla="*/ 488 w 526"/>
                          <a:gd name="T85" fmla="*/ 8 h 65"/>
                          <a:gd name="T86" fmla="*/ 488 w 526"/>
                          <a:gd name="T87" fmla="*/ 56 h 65"/>
                          <a:gd name="T88" fmla="*/ 521 w 526"/>
                          <a:gd name="T89" fmla="*/ 65 h 65"/>
                          <a:gd name="T90" fmla="*/ 521 w 526"/>
                          <a:gd name="T91" fmla="*/ 36 h 65"/>
                          <a:gd name="T92" fmla="*/ 509 w 526"/>
                          <a:gd name="T93" fmla="*/ 56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6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6"/>
                              <a:pt x="16" y="56"/>
                              <a:pt x="16" y="56"/>
                            </a:cubicBezTo>
                            <a:cubicBezTo>
                              <a:pt x="4" y="56"/>
                              <a:pt x="4" y="56"/>
                              <a:pt x="4" y="56"/>
                            </a:cubicBezTo>
                            <a:cubicBezTo>
                              <a:pt x="1" y="56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40"/>
                              <a:pt x="41" y="40"/>
                              <a:pt x="41" y="40"/>
                            </a:cubicBezTo>
                            <a:cubicBezTo>
                              <a:pt x="41" y="37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7"/>
                              <a:pt x="33" y="40"/>
                            </a:cubicBezTo>
                            <a:cubicBezTo>
                              <a:pt x="33" y="56"/>
                              <a:pt x="33" y="56"/>
                              <a:pt x="33" y="56"/>
                            </a:cubicBezTo>
                            <a:lnTo>
                              <a:pt x="25" y="56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6"/>
                              <a:pt x="60" y="56"/>
                              <a:pt x="60" y="56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6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6"/>
                              <a:pt x="93" y="56"/>
                              <a:pt x="93" y="56"/>
                            </a:cubicBezTo>
                            <a:cubicBezTo>
                              <a:pt x="68" y="56"/>
                              <a:pt x="68" y="56"/>
                              <a:pt x="68" y="56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6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6"/>
                              <a:pt x="137" y="56"/>
                              <a:pt x="137" y="56"/>
                            </a:cubicBezTo>
                            <a:cubicBezTo>
                              <a:pt x="125" y="56"/>
                              <a:pt x="125" y="56"/>
                              <a:pt x="125" y="56"/>
                            </a:cubicBezTo>
                            <a:cubicBezTo>
                              <a:pt x="123" y="56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40"/>
                              <a:pt x="162" y="40"/>
                              <a:pt x="162" y="40"/>
                            </a:cubicBezTo>
                            <a:cubicBezTo>
                              <a:pt x="162" y="37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7"/>
                              <a:pt x="154" y="40"/>
                            </a:cubicBezTo>
                            <a:cubicBezTo>
                              <a:pt x="154" y="56"/>
                              <a:pt x="154" y="56"/>
                              <a:pt x="154" y="56"/>
                            </a:cubicBezTo>
                            <a:lnTo>
                              <a:pt x="145" y="56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6"/>
                              <a:pt x="181" y="56"/>
                              <a:pt x="181" y="56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6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6"/>
                              <a:pt x="214" y="56"/>
                              <a:pt x="214" y="56"/>
                            </a:cubicBezTo>
                            <a:cubicBezTo>
                              <a:pt x="190" y="56"/>
                              <a:pt x="190" y="56"/>
                              <a:pt x="190" y="56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6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6"/>
                              <a:pt x="258" y="56"/>
                              <a:pt x="258" y="56"/>
                            </a:cubicBezTo>
                            <a:cubicBezTo>
                              <a:pt x="246" y="56"/>
                              <a:pt x="246" y="56"/>
                              <a:pt x="246" y="56"/>
                            </a:cubicBezTo>
                            <a:cubicBezTo>
                              <a:pt x="244" y="56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40"/>
                              <a:pt x="283" y="40"/>
                              <a:pt x="283" y="40"/>
                            </a:cubicBezTo>
                            <a:cubicBezTo>
                              <a:pt x="283" y="37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7"/>
                              <a:pt x="275" y="40"/>
                            </a:cubicBezTo>
                            <a:cubicBezTo>
                              <a:pt x="275" y="56"/>
                              <a:pt x="275" y="56"/>
                              <a:pt x="275" y="56"/>
                            </a:cubicBezTo>
                            <a:lnTo>
                              <a:pt x="267" y="56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6"/>
                              <a:pt x="303" y="56"/>
                              <a:pt x="303" y="56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6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6"/>
                              <a:pt x="336" y="56"/>
                              <a:pt x="336" y="56"/>
                            </a:cubicBezTo>
                            <a:cubicBezTo>
                              <a:pt x="310" y="56"/>
                              <a:pt x="310" y="56"/>
                              <a:pt x="310" y="56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6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6"/>
                              <a:pt x="380" y="56"/>
                              <a:pt x="380" y="56"/>
                            </a:cubicBezTo>
                            <a:cubicBezTo>
                              <a:pt x="367" y="56"/>
                              <a:pt x="367" y="56"/>
                              <a:pt x="367" y="56"/>
                            </a:cubicBezTo>
                            <a:cubicBezTo>
                              <a:pt x="365" y="56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40"/>
                              <a:pt x="404" y="40"/>
                              <a:pt x="404" y="40"/>
                            </a:cubicBezTo>
                            <a:cubicBezTo>
                              <a:pt x="404" y="37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7"/>
                              <a:pt x="396" y="40"/>
                            </a:cubicBezTo>
                            <a:cubicBezTo>
                              <a:pt x="396" y="56"/>
                              <a:pt x="396" y="56"/>
                              <a:pt x="396" y="56"/>
                            </a:cubicBezTo>
                            <a:lnTo>
                              <a:pt x="388" y="56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6"/>
                              <a:pt x="423" y="56"/>
                              <a:pt x="423" y="56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6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6"/>
                              <a:pt x="457" y="56"/>
                              <a:pt x="457" y="56"/>
                            </a:cubicBezTo>
                            <a:cubicBezTo>
                              <a:pt x="432" y="56"/>
                              <a:pt x="432" y="56"/>
                              <a:pt x="432" y="56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509" y="56"/>
                            </a:moveTo>
                            <a:cubicBezTo>
                              <a:pt x="509" y="0"/>
                              <a:pt x="509" y="0"/>
                              <a:pt x="509" y="0"/>
                            </a:cubicBezTo>
                            <a:cubicBezTo>
                              <a:pt x="488" y="0"/>
                              <a:pt x="488" y="0"/>
                              <a:pt x="488" y="0"/>
                            </a:cubicBezTo>
                            <a:cubicBezTo>
                              <a:pt x="486" y="0"/>
                              <a:pt x="484" y="1"/>
                              <a:pt x="484" y="4"/>
                            </a:cubicBezTo>
                            <a:cubicBezTo>
                              <a:pt x="484" y="7"/>
                              <a:pt x="486" y="8"/>
                              <a:pt x="488" y="8"/>
                            </a:cubicBezTo>
                            <a:cubicBezTo>
                              <a:pt x="500" y="8"/>
                              <a:pt x="500" y="8"/>
                              <a:pt x="500" y="8"/>
                            </a:cubicBezTo>
                            <a:cubicBezTo>
                              <a:pt x="500" y="56"/>
                              <a:pt x="500" y="56"/>
                              <a:pt x="500" y="56"/>
                            </a:cubicBezTo>
                            <a:cubicBezTo>
                              <a:pt x="488" y="56"/>
                              <a:pt x="488" y="56"/>
                              <a:pt x="488" y="56"/>
                            </a:cubicBezTo>
                            <a:cubicBezTo>
                              <a:pt x="486" y="56"/>
                              <a:pt x="484" y="58"/>
                              <a:pt x="484" y="61"/>
                            </a:cubicBezTo>
                            <a:cubicBezTo>
                              <a:pt x="484" y="64"/>
                              <a:pt x="486" y="65"/>
                              <a:pt x="488" y="65"/>
                            </a:cubicBezTo>
                            <a:cubicBezTo>
                              <a:pt x="521" y="65"/>
                              <a:pt x="521" y="65"/>
                              <a:pt x="521" y="65"/>
                            </a:cubicBezTo>
                            <a:cubicBezTo>
                              <a:pt x="524" y="65"/>
                              <a:pt x="526" y="64"/>
                              <a:pt x="526" y="61"/>
                            </a:cubicBezTo>
                            <a:cubicBezTo>
                              <a:pt x="526" y="40"/>
                              <a:pt x="526" y="40"/>
                              <a:pt x="526" y="40"/>
                            </a:cubicBezTo>
                            <a:cubicBezTo>
                              <a:pt x="526" y="37"/>
                              <a:pt x="525" y="36"/>
                              <a:pt x="521" y="36"/>
                            </a:cubicBezTo>
                            <a:cubicBezTo>
                              <a:pt x="519" y="36"/>
                              <a:pt x="517" y="37"/>
                              <a:pt x="517" y="40"/>
                            </a:cubicBezTo>
                            <a:cubicBezTo>
                              <a:pt x="517" y="56"/>
                              <a:pt x="517" y="56"/>
                              <a:pt x="517" y="56"/>
                            </a:cubicBezTo>
                            <a:lnTo>
                              <a:pt x="509" y="56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  <p:sp>
                    <p:nvSpPr>
                      <p:cNvPr id="273" name="Freeform 89">
                        <a:extLst>
                          <a:ext uri="{FF2B5EF4-FFF2-40B4-BE49-F238E27FC236}">
                            <a16:creationId xmlns:a16="http://schemas.microsoft.com/office/drawing/2014/main" id="{17F5EC45-84B3-4DC4-ADE1-754A4AFE1CF9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8240074" y="2350878"/>
                        <a:ext cx="1702503" cy="211421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40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6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6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6 h 65"/>
                          <a:gd name="T32" fmla="*/ 181 w 526"/>
                          <a:gd name="T33" fmla="*/ 56 h 65"/>
                          <a:gd name="T34" fmla="*/ 223 w 526"/>
                          <a:gd name="T35" fmla="*/ 56 h 65"/>
                          <a:gd name="T36" fmla="*/ 190 w 526"/>
                          <a:gd name="T37" fmla="*/ 0 h 65"/>
                          <a:gd name="T38" fmla="*/ 214 w 526"/>
                          <a:gd name="T39" fmla="*/ 56 h 65"/>
                          <a:gd name="T40" fmla="*/ 267 w 526"/>
                          <a:gd name="T41" fmla="*/ 56 h 65"/>
                          <a:gd name="T42" fmla="*/ 242 w 526"/>
                          <a:gd name="T43" fmla="*/ 4 h 65"/>
                          <a:gd name="T44" fmla="*/ 258 w 526"/>
                          <a:gd name="T45" fmla="*/ 56 h 65"/>
                          <a:gd name="T46" fmla="*/ 246 w 526"/>
                          <a:gd name="T47" fmla="*/ 65 h 65"/>
                          <a:gd name="T48" fmla="*/ 283 w 526"/>
                          <a:gd name="T49" fmla="*/ 40 h 65"/>
                          <a:gd name="T50" fmla="*/ 275 w 526"/>
                          <a:gd name="T51" fmla="*/ 56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40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6 h 65"/>
                          <a:gd name="T82" fmla="*/ 509 w 526"/>
                          <a:gd name="T83" fmla="*/ 0 h 65"/>
                          <a:gd name="T84" fmla="*/ 488 w 526"/>
                          <a:gd name="T85" fmla="*/ 8 h 65"/>
                          <a:gd name="T86" fmla="*/ 488 w 526"/>
                          <a:gd name="T87" fmla="*/ 56 h 65"/>
                          <a:gd name="T88" fmla="*/ 521 w 526"/>
                          <a:gd name="T89" fmla="*/ 65 h 65"/>
                          <a:gd name="T90" fmla="*/ 521 w 526"/>
                          <a:gd name="T91" fmla="*/ 36 h 65"/>
                          <a:gd name="T92" fmla="*/ 509 w 526"/>
                          <a:gd name="T93" fmla="*/ 56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6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6"/>
                              <a:pt x="16" y="56"/>
                              <a:pt x="16" y="56"/>
                            </a:cubicBezTo>
                            <a:cubicBezTo>
                              <a:pt x="4" y="56"/>
                              <a:pt x="4" y="56"/>
                              <a:pt x="4" y="56"/>
                            </a:cubicBezTo>
                            <a:cubicBezTo>
                              <a:pt x="1" y="56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40"/>
                              <a:pt x="41" y="40"/>
                              <a:pt x="41" y="40"/>
                            </a:cubicBezTo>
                            <a:cubicBezTo>
                              <a:pt x="41" y="37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7"/>
                              <a:pt x="33" y="40"/>
                            </a:cubicBezTo>
                            <a:cubicBezTo>
                              <a:pt x="33" y="56"/>
                              <a:pt x="33" y="56"/>
                              <a:pt x="33" y="56"/>
                            </a:cubicBezTo>
                            <a:lnTo>
                              <a:pt x="25" y="56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6"/>
                              <a:pt x="60" y="56"/>
                              <a:pt x="60" y="56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6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6"/>
                              <a:pt x="93" y="56"/>
                              <a:pt x="93" y="56"/>
                            </a:cubicBezTo>
                            <a:cubicBezTo>
                              <a:pt x="68" y="56"/>
                              <a:pt x="68" y="56"/>
                              <a:pt x="68" y="56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6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6"/>
                              <a:pt x="137" y="56"/>
                              <a:pt x="137" y="56"/>
                            </a:cubicBezTo>
                            <a:cubicBezTo>
                              <a:pt x="125" y="56"/>
                              <a:pt x="125" y="56"/>
                              <a:pt x="125" y="56"/>
                            </a:cubicBezTo>
                            <a:cubicBezTo>
                              <a:pt x="123" y="56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40"/>
                              <a:pt x="162" y="40"/>
                              <a:pt x="162" y="40"/>
                            </a:cubicBezTo>
                            <a:cubicBezTo>
                              <a:pt x="162" y="37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7"/>
                              <a:pt x="154" y="40"/>
                            </a:cubicBezTo>
                            <a:cubicBezTo>
                              <a:pt x="154" y="56"/>
                              <a:pt x="154" y="56"/>
                              <a:pt x="154" y="56"/>
                            </a:cubicBezTo>
                            <a:lnTo>
                              <a:pt x="145" y="56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6"/>
                              <a:pt x="181" y="56"/>
                              <a:pt x="181" y="56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6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6"/>
                              <a:pt x="214" y="56"/>
                              <a:pt x="214" y="56"/>
                            </a:cubicBezTo>
                            <a:cubicBezTo>
                              <a:pt x="190" y="56"/>
                              <a:pt x="190" y="56"/>
                              <a:pt x="190" y="56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6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6"/>
                              <a:pt x="258" y="56"/>
                              <a:pt x="258" y="56"/>
                            </a:cubicBezTo>
                            <a:cubicBezTo>
                              <a:pt x="246" y="56"/>
                              <a:pt x="246" y="56"/>
                              <a:pt x="246" y="56"/>
                            </a:cubicBezTo>
                            <a:cubicBezTo>
                              <a:pt x="244" y="56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40"/>
                              <a:pt x="283" y="40"/>
                              <a:pt x="283" y="40"/>
                            </a:cubicBezTo>
                            <a:cubicBezTo>
                              <a:pt x="283" y="37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7"/>
                              <a:pt x="275" y="40"/>
                            </a:cubicBezTo>
                            <a:cubicBezTo>
                              <a:pt x="275" y="56"/>
                              <a:pt x="275" y="56"/>
                              <a:pt x="275" y="56"/>
                            </a:cubicBezTo>
                            <a:lnTo>
                              <a:pt x="267" y="56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6"/>
                              <a:pt x="303" y="56"/>
                              <a:pt x="303" y="56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6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6"/>
                              <a:pt x="336" y="56"/>
                              <a:pt x="336" y="56"/>
                            </a:cubicBezTo>
                            <a:cubicBezTo>
                              <a:pt x="310" y="56"/>
                              <a:pt x="310" y="56"/>
                              <a:pt x="310" y="56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6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6"/>
                              <a:pt x="380" y="56"/>
                              <a:pt x="380" y="56"/>
                            </a:cubicBezTo>
                            <a:cubicBezTo>
                              <a:pt x="367" y="56"/>
                              <a:pt x="367" y="56"/>
                              <a:pt x="367" y="56"/>
                            </a:cubicBezTo>
                            <a:cubicBezTo>
                              <a:pt x="365" y="56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40"/>
                              <a:pt x="404" y="40"/>
                              <a:pt x="404" y="40"/>
                            </a:cubicBezTo>
                            <a:cubicBezTo>
                              <a:pt x="404" y="37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7"/>
                              <a:pt x="396" y="40"/>
                            </a:cubicBezTo>
                            <a:cubicBezTo>
                              <a:pt x="396" y="56"/>
                              <a:pt x="396" y="56"/>
                              <a:pt x="396" y="56"/>
                            </a:cubicBezTo>
                            <a:lnTo>
                              <a:pt x="388" y="56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6"/>
                              <a:pt x="423" y="56"/>
                              <a:pt x="423" y="56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6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6"/>
                              <a:pt x="457" y="56"/>
                              <a:pt x="457" y="56"/>
                            </a:cubicBezTo>
                            <a:cubicBezTo>
                              <a:pt x="432" y="56"/>
                              <a:pt x="432" y="56"/>
                              <a:pt x="432" y="56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509" y="56"/>
                            </a:moveTo>
                            <a:cubicBezTo>
                              <a:pt x="509" y="0"/>
                              <a:pt x="509" y="0"/>
                              <a:pt x="509" y="0"/>
                            </a:cubicBezTo>
                            <a:cubicBezTo>
                              <a:pt x="488" y="0"/>
                              <a:pt x="488" y="0"/>
                              <a:pt x="488" y="0"/>
                            </a:cubicBezTo>
                            <a:cubicBezTo>
                              <a:pt x="486" y="0"/>
                              <a:pt x="484" y="1"/>
                              <a:pt x="484" y="4"/>
                            </a:cubicBezTo>
                            <a:cubicBezTo>
                              <a:pt x="484" y="7"/>
                              <a:pt x="486" y="8"/>
                              <a:pt x="488" y="8"/>
                            </a:cubicBezTo>
                            <a:cubicBezTo>
                              <a:pt x="500" y="8"/>
                              <a:pt x="500" y="8"/>
                              <a:pt x="500" y="8"/>
                            </a:cubicBezTo>
                            <a:cubicBezTo>
                              <a:pt x="500" y="56"/>
                              <a:pt x="500" y="56"/>
                              <a:pt x="500" y="56"/>
                            </a:cubicBezTo>
                            <a:cubicBezTo>
                              <a:pt x="488" y="56"/>
                              <a:pt x="488" y="56"/>
                              <a:pt x="488" y="56"/>
                            </a:cubicBezTo>
                            <a:cubicBezTo>
                              <a:pt x="486" y="56"/>
                              <a:pt x="484" y="58"/>
                              <a:pt x="484" y="61"/>
                            </a:cubicBezTo>
                            <a:cubicBezTo>
                              <a:pt x="484" y="64"/>
                              <a:pt x="486" y="65"/>
                              <a:pt x="488" y="65"/>
                            </a:cubicBezTo>
                            <a:cubicBezTo>
                              <a:pt x="521" y="65"/>
                              <a:pt x="521" y="65"/>
                              <a:pt x="521" y="65"/>
                            </a:cubicBezTo>
                            <a:cubicBezTo>
                              <a:pt x="524" y="65"/>
                              <a:pt x="526" y="64"/>
                              <a:pt x="526" y="61"/>
                            </a:cubicBezTo>
                            <a:cubicBezTo>
                              <a:pt x="526" y="40"/>
                              <a:pt x="526" y="40"/>
                              <a:pt x="526" y="40"/>
                            </a:cubicBezTo>
                            <a:cubicBezTo>
                              <a:pt x="526" y="37"/>
                              <a:pt x="525" y="36"/>
                              <a:pt x="521" y="36"/>
                            </a:cubicBezTo>
                            <a:cubicBezTo>
                              <a:pt x="519" y="36"/>
                              <a:pt x="517" y="37"/>
                              <a:pt x="517" y="40"/>
                            </a:cubicBezTo>
                            <a:cubicBezTo>
                              <a:pt x="517" y="56"/>
                              <a:pt x="517" y="56"/>
                              <a:pt x="517" y="56"/>
                            </a:cubicBezTo>
                            <a:lnTo>
                              <a:pt x="509" y="56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</p:grpSp>
                <p:grpSp>
                  <p:nvGrpSpPr>
                    <p:cNvPr id="1191" name="Group 1190">
                      <a:extLst>
                        <a:ext uri="{FF2B5EF4-FFF2-40B4-BE49-F238E27FC236}">
                          <a16:creationId xmlns:a16="http://schemas.microsoft.com/office/drawing/2014/main" id="{306A529E-E776-4758-8EF8-584FDD7FA27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448489" y="4053195"/>
                      <a:ext cx="3494088" cy="205860"/>
                      <a:chOff x="6448489" y="3923399"/>
                      <a:chExt cx="3494088" cy="205860"/>
                    </a:xfrm>
                  </p:grpSpPr>
                  <p:sp>
                    <p:nvSpPr>
                      <p:cNvPr id="276" name="Freeform 87">
                        <a:extLst>
                          <a:ext uri="{FF2B5EF4-FFF2-40B4-BE49-F238E27FC236}">
                            <a16:creationId xmlns:a16="http://schemas.microsoft.com/office/drawing/2014/main" id="{4A7ECAF6-72F8-41F4-B523-36DD7C694D89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448489" y="3923399"/>
                        <a:ext cx="1702503" cy="205860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39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7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7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7 h 65"/>
                          <a:gd name="T32" fmla="*/ 181 w 526"/>
                          <a:gd name="T33" fmla="*/ 57 h 65"/>
                          <a:gd name="T34" fmla="*/ 223 w 526"/>
                          <a:gd name="T35" fmla="*/ 57 h 65"/>
                          <a:gd name="T36" fmla="*/ 190 w 526"/>
                          <a:gd name="T37" fmla="*/ 0 h 65"/>
                          <a:gd name="T38" fmla="*/ 214 w 526"/>
                          <a:gd name="T39" fmla="*/ 57 h 65"/>
                          <a:gd name="T40" fmla="*/ 267 w 526"/>
                          <a:gd name="T41" fmla="*/ 57 h 65"/>
                          <a:gd name="T42" fmla="*/ 242 w 526"/>
                          <a:gd name="T43" fmla="*/ 4 h 65"/>
                          <a:gd name="T44" fmla="*/ 258 w 526"/>
                          <a:gd name="T45" fmla="*/ 57 h 65"/>
                          <a:gd name="T46" fmla="*/ 246 w 526"/>
                          <a:gd name="T47" fmla="*/ 65 h 65"/>
                          <a:gd name="T48" fmla="*/ 283 w 526"/>
                          <a:gd name="T49" fmla="*/ 39 h 65"/>
                          <a:gd name="T50" fmla="*/ 275 w 526"/>
                          <a:gd name="T51" fmla="*/ 57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39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7 h 65"/>
                          <a:gd name="T82" fmla="*/ 484 w 526"/>
                          <a:gd name="T83" fmla="*/ 8 h 65"/>
                          <a:gd name="T84" fmla="*/ 517 w 526"/>
                          <a:gd name="T85" fmla="*/ 65 h 65"/>
                          <a:gd name="T86" fmla="*/ 517 w 526"/>
                          <a:gd name="T87" fmla="*/ 0 h 65"/>
                          <a:gd name="T88" fmla="*/ 517 w 526"/>
                          <a:gd name="T89" fmla="*/ 8 h 65"/>
                          <a:gd name="T90" fmla="*/ 493 w 526"/>
                          <a:gd name="T91" fmla="*/ 8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7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7"/>
                              <a:pt x="16" y="57"/>
                              <a:pt x="16" y="57"/>
                            </a:cubicBezTo>
                            <a:cubicBezTo>
                              <a:pt x="4" y="57"/>
                              <a:pt x="4" y="57"/>
                              <a:pt x="4" y="57"/>
                            </a:cubicBezTo>
                            <a:cubicBezTo>
                              <a:pt x="1" y="57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39"/>
                              <a:pt x="41" y="39"/>
                              <a:pt x="41" y="39"/>
                            </a:cubicBezTo>
                            <a:cubicBezTo>
                              <a:pt x="41" y="38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8"/>
                              <a:pt x="33" y="3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lnTo>
                              <a:pt x="25" y="57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7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39"/>
                              <a:pt x="162" y="39"/>
                              <a:pt x="162" y="39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39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7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39"/>
                              <a:pt x="283" y="39"/>
                              <a:pt x="283" y="39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39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7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39"/>
                              <a:pt x="404" y="39"/>
                              <a:pt x="404" y="39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39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7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493" y="0"/>
                            </a:moveTo>
                            <a:cubicBezTo>
                              <a:pt x="488" y="0"/>
                              <a:pt x="484" y="4"/>
                              <a:pt x="484" y="8"/>
                            </a:cubicBezTo>
                            <a:cubicBezTo>
                              <a:pt x="484" y="57"/>
                              <a:pt x="484" y="57"/>
                              <a:pt x="484" y="57"/>
                            </a:cubicBezTo>
                            <a:cubicBezTo>
                              <a:pt x="484" y="61"/>
                              <a:pt x="488" y="65"/>
                              <a:pt x="493" y="65"/>
                            </a:cubicBezTo>
                            <a:cubicBezTo>
                              <a:pt x="517" y="65"/>
                              <a:pt x="517" y="65"/>
                              <a:pt x="517" y="65"/>
                            </a:cubicBezTo>
                            <a:cubicBezTo>
                              <a:pt x="522" y="65"/>
                              <a:pt x="526" y="61"/>
                              <a:pt x="526" y="57"/>
                            </a:cubicBezTo>
                            <a:cubicBezTo>
                              <a:pt x="526" y="8"/>
                              <a:pt x="526" y="8"/>
                              <a:pt x="526" y="8"/>
                            </a:cubicBezTo>
                            <a:cubicBezTo>
                              <a:pt x="526" y="4"/>
                              <a:pt x="522" y="0"/>
                              <a:pt x="517" y="0"/>
                            </a:cubicBezTo>
                            <a:lnTo>
                              <a:pt x="493" y="0"/>
                            </a:lnTo>
                            <a:close/>
                            <a:moveTo>
                              <a:pt x="493" y="8"/>
                            </a:moveTo>
                            <a:cubicBezTo>
                              <a:pt x="517" y="8"/>
                              <a:pt x="517" y="8"/>
                              <a:pt x="517" y="8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cubicBezTo>
                              <a:pt x="493" y="57"/>
                              <a:pt x="493" y="57"/>
                              <a:pt x="493" y="57"/>
                            </a:cubicBezTo>
                            <a:lnTo>
                              <a:pt x="493" y="8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  <p:sp>
                    <p:nvSpPr>
                      <p:cNvPr id="279" name="Freeform 87">
                        <a:extLst>
                          <a:ext uri="{FF2B5EF4-FFF2-40B4-BE49-F238E27FC236}">
                            <a16:creationId xmlns:a16="http://schemas.microsoft.com/office/drawing/2014/main" id="{143E76D5-E52A-461D-83F9-467EEFD13AAE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8240074" y="3923399"/>
                        <a:ext cx="1702503" cy="205860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39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7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7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7 h 65"/>
                          <a:gd name="T32" fmla="*/ 181 w 526"/>
                          <a:gd name="T33" fmla="*/ 57 h 65"/>
                          <a:gd name="T34" fmla="*/ 223 w 526"/>
                          <a:gd name="T35" fmla="*/ 57 h 65"/>
                          <a:gd name="T36" fmla="*/ 190 w 526"/>
                          <a:gd name="T37" fmla="*/ 0 h 65"/>
                          <a:gd name="T38" fmla="*/ 214 w 526"/>
                          <a:gd name="T39" fmla="*/ 57 h 65"/>
                          <a:gd name="T40" fmla="*/ 267 w 526"/>
                          <a:gd name="T41" fmla="*/ 57 h 65"/>
                          <a:gd name="T42" fmla="*/ 242 w 526"/>
                          <a:gd name="T43" fmla="*/ 4 h 65"/>
                          <a:gd name="T44" fmla="*/ 258 w 526"/>
                          <a:gd name="T45" fmla="*/ 57 h 65"/>
                          <a:gd name="T46" fmla="*/ 246 w 526"/>
                          <a:gd name="T47" fmla="*/ 65 h 65"/>
                          <a:gd name="T48" fmla="*/ 283 w 526"/>
                          <a:gd name="T49" fmla="*/ 39 h 65"/>
                          <a:gd name="T50" fmla="*/ 275 w 526"/>
                          <a:gd name="T51" fmla="*/ 57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39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7 h 65"/>
                          <a:gd name="T82" fmla="*/ 484 w 526"/>
                          <a:gd name="T83" fmla="*/ 8 h 65"/>
                          <a:gd name="T84" fmla="*/ 517 w 526"/>
                          <a:gd name="T85" fmla="*/ 65 h 65"/>
                          <a:gd name="T86" fmla="*/ 517 w 526"/>
                          <a:gd name="T87" fmla="*/ 0 h 65"/>
                          <a:gd name="T88" fmla="*/ 517 w 526"/>
                          <a:gd name="T89" fmla="*/ 8 h 65"/>
                          <a:gd name="T90" fmla="*/ 493 w 526"/>
                          <a:gd name="T91" fmla="*/ 8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7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7"/>
                              <a:pt x="16" y="57"/>
                              <a:pt x="16" y="57"/>
                            </a:cubicBezTo>
                            <a:cubicBezTo>
                              <a:pt x="4" y="57"/>
                              <a:pt x="4" y="57"/>
                              <a:pt x="4" y="57"/>
                            </a:cubicBezTo>
                            <a:cubicBezTo>
                              <a:pt x="1" y="57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39"/>
                              <a:pt x="41" y="39"/>
                              <a:pt x="41" y="39"/>
                            </a:cubicBezTo>
                            <a:cubicBezTo>
                              <a:pt x="41" y="38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8"/>
                              <a:pt x="33" y="3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lnTo>
                              <a:pt x="25" y="57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7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39"/>
                              <a:pt x="162" y="39"/>
                              <a:pt x="162" y="39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39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7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39"/>
                              <a:pt x="283" y="39"/>
                              <a:pt x="283" y="39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39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7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39"/>
                              <a:pt x="404" y="39"/>
                              <a:pt x="404" y="39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39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7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493" y="0"/>
                            </a:moveTo>
                            <a:cubicBezTo>
                              <a:pt x="488" y="0"/>
                              <a:pt x="484" y="4"/>
                              <a:pt x="484" y="8"/>
                            </a:cubicBezTo>
                            <a:cubicBezTo>
                              <a:pt x="484" y="57"/>
                              <a:pt x="484" y="57"/>
                              <a:pt x="484" y="57"/>
                            </a:cubicBezTo>
                            <a:cubicBezTo>
                              <a:pt x="484" y="61"/>
                              <a:pt x="488" y="65"/>
                              <a:pt x="493" y="65"/>
                            </a:cubicBezTo>
                            <a:cubicBezTo>
                              <a:pt x="517" y="65"/>
                              <a:pt x="517" y="65"/>
                              <a:pt x="517" y="65"/>
                            </a:cubicBezTo>
                            <a:cubicBezTo>
                              <a:pt x="522" y="65"/>
                              <a:pt x="526" y="61"/>
                              <a:pt x="526" y="57"/>
                            </a:cubicBezTo>
                            <a:cubicBezTo>
                              <a:pt x="526" y="8"/>
                              <a:pt x="526" y="8"/>
                              <a:pt x="526" y="8"/>
                            </a:cubicBezTo>
                            <a:cubicBezTo>
                              <a:pt x="526" y="4"/>
                              <a:pt x="522" y="0"/>
                              <a:pt x="517" y="0"/>
                            </a:cubicBezTo>
                            <a:lnTo>
                              <a:pt x="493" y="0"/>
                            </a:lnTo>
                            <a:close/>
                            <a:moveTo>
                              <a:pt x="493" y="8"/>
                            </a:moveTo>
                            <a:cubicBezTo>
                              <a:pt x="517" y="8"/>
                              <a:pt x="517" y="8"/>
                              <a:pt x="517" y="8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cubicBezTo>
                              <a:pt x="493" y="57"/>
                              <a:pt x="493" y="57"/>
                              <a:pt x="493" y="57"/>
                            </a:cubicBezTo>
                            <a:lnTo>
                              <a:pt x="493" y="8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</p:grpSp>
                <p:grpSp>
                  <p:nvGrpSpPr>
                    <p:cNvPr id="1192" name="Group 1191">
                      <a:extLst>
                        <a:ext uri="{FF2B5EF4-FFF2-40B4-BE49-F238E27FC236}">
                          <a16:creationId xmlns:a16="http://schemas.microsoft.com/office/drawing/2014/main" id="{80ACD4FA-4EA3-4415-8BBF-DC5C4C2C953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448489" y="3720612"/>
                      <a:ext cx="3494088" cy="211421"/>
                      <a:chOff x="6448489" y="3595137"/>
                      <a:chExt cx="3494088" cy="211421"/>
                    </a:xfrm>
                  </p:grpSpPr>
                  <p:sp>
                    <p:nvSpPr>
                      <p:cNvPr id="277" name="Freeform 88">
                        <a:extLst>
                          <a:ext uri="{FF2B5EF4-FFF2-40B4-BE49-F238E27FC236}">
                            <a16:creationId xmlns:a16="http://schemas.microsoft.com/office/drawing/2014/main" id="{1EF11A9A-DB3E-45FA-A821-F1B413498D1B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448489" y="3595137"/>
                        <a:ext cx="1702503" cy="211421"/>
                      </a:xfrm>
                      <a:custGeom>
                        <a:avLst/>
                        <a:gdLst>
                          <a:gd name="T0" fmla="*/ 0 w 526"/>
                          <a:gd name="T1" fmla="*/ 57 h 65"/>
                          <a:gd name="T2" fmla="*/ 41 w 526"/>
                          <a:gd name="T3" fmla="*/ 57 h 65"/>
                          <a:gd name="T4" fmla="*/ 7 w 526"/>
                          <a:gd name="T5" fmla="*/ 0 h 65"/>
                          <a:gd name="T6" fmla="*/ 33 w 526"/>
                          <a:gd name="T7" fmla="*/ 57 h 65"/>
                          <a:gd name="T8" fmla="*/ 68 w 526"/>
                          <a:gd name="T9" fmla="*/ 0 h 65"/>
                          <a:gd name="T10" fmla="*/ 68 w 526"/>
                          <a:gd name="T11" fmla="*/ 65 h 65"/>
                          <a:gd name="T12" fmla="*/ 101 w 526"/>
                          <a:gd name="T13" fmla="*/ 9 h 65"/>
                          <a:gd name="T14" fmla="*/ 68 w 526"/>
                          <a:gd name="T15" fmla="*/ 9 h 65"/>
                          <a:gd name="T16" fmla="*/ 68 w 526"/>
                          <a:gd name="T17" fmla="*/ 57 h 65"/>
                          <a:gd name="T18" fmla="*/ 145 w 526"/>
                          <a:gd name="T19" fmla="*/ 0 h 65"/>
                          <a:gd name="T20" fmla="*/ 125 w 526"/>
                          <a:gd name="T21" fmla="*/ 9 h 65"/>
                          <a:gd name="T22" fmla="*/ 125 w 526"/>
                          <a:gd name="T23" fmla="*/ 57 h 65"/>
                          <a:gd name="T24" fmla="*/ 158 w 526"/>
                          <a:gd name="T25" fmla="*/ 65 h 65"/>
                          <a:gd name="T26" fmla="*/ 158 w 526"/>
                          <a:gd name="T27" fmla="*/ 36 h 65"/>
                          <a:gd name="T28" fmla="*/ 145 w 526"/>
                          <a:gd name="T29" fmla="*/ 57 h 65"/>
                          <a:gd name="T30" fmla="*/ 181 w 526"/>
                          <a:gd name="T31" fmla="*/ 57 h 65"/>
                          <a:gd name="T32" fmla="*/ 223 w 526"/>
                          <a:gd name="T33" fmla="*/ 57 h 65"/>
                          <a:gd name="T34" fmla="*/ 190 w 526"/>
                          <a:gd name="T35" fmla="*/ 0 h 65"/>
                          <a:gd name="T36" fmla="*/ 214 w 526"/>
                          <a:gd name="T37" fmla="*/ 57 h 65"/>
                          <a:gd name="T38" fmla="*/ 267 w 526"/>
                          <a:gd name="T39" fmla="*/ 57 h 65"/>
                          <a:gd name="T40" fmla="*/ 242 w 526"/>
                          <a:gd name="T41" fmla="*/ 5 h 65"/>
                          <a:gd name="T42" fmla="*/ 258 w 526"/>
                          <a:gd name="T43" fmla="*/ 57 h 65"/>
                          <a:gd name="T44" fmla="*/ 246 w 526"/>
                          <a:gd name="T45" fmla="*/ 65 h 65"/>
                          <a:gd name="T46" fmla="*/ 283 w 526"/>
                          <a:gd name="T47" fmla="*/ 40 h 65"/>
                          <a:gd name="T48" fmla="*/ 275 w 526"/>
                          <a:gd name="T49" fmla="*/ 57 h 65"/>
                          <a:gd name="T50" fmla="*/ 303 w 526"/>
                          <a:gd name="T51" fmla="*/ 9 h 65"/>
                          <a:gd name="T52" fmla="*/ 336 w 526"/>
                          <a:gd name="T53" fmla="*/ 65 h 65"/>
                          <a:gd name="T54" fmla="*/ 336 w 526"/>
                          <a:gd name="T55" fmla="*/ 0 h 65"/>
                          <a:gd name="T56" fmla="*/ 336 w 526"/>
                          <a:gd name="T57" fmla="*/ 9 h 65"/>
                          <a:gd name="T58" fmla="*/ 310 w 526"/>
                          <a:gd name="T59" fmla="*/ 9 h 65"/>
                          <a:gd name="T60" fmla="*/ 367 w 526"/>
                          <a:gd name="T61" fmla="*/ 0 h 65"/>
                          <a:gd name="T62" fmla="*/ 380 w 526"/>
                          <a:gd name="T63" fmla="*/ 9 h 65"/>
                          <a:gd name="T64" fmla="*/ 363 w 526"/>
                          <a:gd name="T65" fmla="*/ 61 h 65"/>
                          <a:gd name="T66" fmla="*/ 404 w 526"/>
                          <a:gd name="T67" fmla="*/ 61 h 65"/>
                          <a:gd name="T68" fmla="*/ 396 w 526"/>
                          <a:gd name="T69" fmla="*/ 40 h 65"/>
                          <a:gd name="T70" fmla="*/ 432 w 526"/>
                          <a:gd name="T71" fmla="*/ 0 h 65"/>
                          <a:gd name="T72" fmla="*/ 432 w 526"/>
                          <a:gd name="T73" fmla="*/ 65 h 65"/>
                          <a:gd name="T74" fmla="*/ 465 w 526"/>
                          <a:gd name="T75" fmla="*/ 9 h 65"/>
                          <a:gd name="T76" fmla="*/ 432 w 526"/>
                          <a:gd name="T77" fmla="*/ 9 h 65"/>
                          <a:gd name="T78" fmla="*/ 432 w 526"/>
                          <a:gd name="T79" fmla="*/ 57 h 65"/>
                          <a:gd name="T80" fmla="*/ 509 w 526"/>
                          <a:gd name="T81" fmla="*/ 0 h 65"/>
                          <a:gd name="T82" fmla="*/ 488 w 526"/>
                          <a:gd name="T83" fmla="*/ 9 h 65"/>
                          <a:gd name="T84" fmla="*/ 488 w 526"/>
                          <a:gd name="T85" fmla="*/ 57 h 65"/>
                          <a:gd name="T86" fmla="*/ 521 w 526"/>
                          <a:gd name="T87" fmla="*/ 65 h 65"/>
                          <a:gd name="T88" fmla="*/ 521 w 526"/>
                          <a:gd name="T89" fmla="*/ 36 h 65"/>
                          <a:gd name="T90" fmla="*/ 509 w 526"/>
                          <a:gd name="T91" fmla="*/ 57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7" y="0"/>
                            </a:moveTo>
                            <a:cubicBezTo>
                              <a:pt x="3" y="0"/>
                              <a:pt x="0" y="4"/>
                              <a:pt x="0" y="9"/>
                            </a:cubicBezTo>
                            <a:cubicBezTo>
                              <a:pt x="0" y="57"/>
                              <a:pt x="0" y="57"/>
                              <a:pt x="0" y="57"/>
                            </a:cubicBezTo>
                            <a:cubicBezTo>
                              <a:pt x="0" y="62"/>
                              <a:pt x="3" y="65"/>
                              <a:pt x="7" y="65"/>
                            </a:cubicBezTo>
                            <a:cubicBezTo>
                              <a:pt x="33" y="65"/>
                              <a:pt x="33" y="65"/>
                              <a:pt x="33" y="65"/>
                            </a:cubicBezTo>
                            <a:cubicBezTo>
                              <a:pt x="37" y="65"/>
                              <a:pt x="41" y="62"/>
                              <a:pt x="41" y="57"/>
                            </a:cubicBezTo>
                            <a:cubicBezTo>
                              <a:pt x="41" y="9"/>
                              <a:pt x="41" y="9"/>
                              <a:pt x="41" y="9"/>
                            </a:cubicBezTo>
                            <a:cubicBezTo>
                              <a:pt x="41" y="4"/>
                              <a:pt x="37" y="0"/>
                              <a:pt x="33" y="0"/>
                            </a:cubicBezTo>
                            <a:lnTo>
                              <a:pt x="7" y="0"/>
                            </a:lnTo>
                            <a:close/>
                            <a:moveTo>
                              <a:pt x="7" y="9"/>
                            </a:moveTo>
                            <a:cubicBezTo>
                              <a:pt x="33" y="9"/>
                              <a:pt x="33" y="9"/>
                              <a:pt x="33" y="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cubicBezTo>
                              <a:pt x="7" y="57"/>
                              <a:pt x="7" y="57"/>
                              <a:pt x="7" y="57"/>
                            </a:cubicBezTo>
                            <a:lnTo>
                              <a:pt x="7" y="9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9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2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2"/>
                              <a:pt x="101" y="57"/>
                            </a:cubicBezTo>
                            <a:cubicBezTo>
                              <a:pt x="101" y="9"/>
                              <a:pt x="101" y="9"/>
                              <a:pt x="101" y="9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9"/>
                            </a:moveTo>
                            <a:cubicBezTo>
                              <a:pt x="93" y="9"/>
                              <a:pt x="93" y="9"/>
                              <a:pt x="93" y="9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9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5"/>
                            </a:cubicBezTo>
                            <a:cubicBezTo>
                              <a:pt x="120" y="7"/>
                              <a:pt x="123" y="9"/>
                              <a:pt x="125" y="9"/>
                            </a:cubicBezTo>
                            <a:cubicBezTo>
                              <a:pt x="137" y="9"/>
                              <a:pt x="137" y="9"/>
                              <a:pt x="137" y="9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40"/>
                              <a:pt x="162" y="40"/>
                              <a:pt x="162" y="40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40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9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2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2"/>
                              <a:pt x="223" y="57"/>
                            </a:cubicBezTo>
                            <a:cubicBezTo>
                              <a:pt x="223" y="9"/>
                              <a:pt x="223" y="9"/>
                              <a:pt x="223" y="9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9"/>
                            </a:moveTo>
                            <a:cubicBezTo>
                              <a:pt x="214" y="9"/>
                              <a:pt x="214" y="9"/>
                              <a:pt x="214" y="9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9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5"/>
                            </a:cubicBezTo>
                            <a:cubicBezTo>
                              <a:pt x="242" y="7"/>
                              <a:pt x="244" y="9"/>
                              <a:pt x="246" y="9"/>
                            </a:cubicBezTo>
                            <a:cubicBezTo>
                              <a:pt x="258" y="9"/>
                              <a:pt x="258" y="9"/>
                              <a:pt x="258" y="9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40"/>
                              <a:pt x="283" y="40"/>
                              <a:pt x="283" y="40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40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9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2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2"/>
                              <a:pt x="344" y="57"/>
                            </a:cubicBezTo>
                            <a:cubicBezTo>
                              <a:pt x="344" y="9"/>
                              <a:pt x="344" y="9"/>
                              <a:pt x="344" y="9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9"/>
                            </a:moveTo>
                            <a:cubicBezTo>
                              <a:pt x="336" y="9"/>
                              <a:pt x="336" y="9"/>
                              <a:pt x="336" y="9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9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5"/>
                            </a:cubicBezTo>
                            <a:cubicBezTo>
                              <a:pt x="363" y="7"/>
                              <a:pt x="365" y="9"/>
                              <a:pt x="367" y="9"/>
                            </a:cubicBezTo>
                            <a:cubicBezTo>
                              <a:pt x="380" y="9"/>
                              <a:pt x="380" y="9"/>
                              <a:pt x="380" y="9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40"/>
                              <a:pt x="404" y="40"/>
                              <a:pt x="404" y="40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40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9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2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2"/>
                              <a:pt x="465" y="57"/>
                            </a:cubicBezTo>
                            <a:cubicBezTo>
                              <a:pt x="465" y="9"/>
                              <a:pt x="465" y="9"/>
                              <a:pt x="465" y="9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9"/>
                            </a:moveTo>
                            <a:cubicBezTo>
                              <a:pt x="457" y="9"/>
                              <a:pt x="457" y="9"/>
                              <a:pt x="457" y="9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9"/>
                            </a:lnTo>
                            <a:close/>
                            <a:moveTo>
                              <a:pt x="509" y="57"/>
                            </a:moveTo>
                            <a:cubicBezTo>
                              <a:pt x="509" y="0"/>
                              <a:pt x="509" y="0"/>
                              <a:pt x="509" y="0"/>
                            </a:cubicBezTo>
                            <a:cubicBezTo>
                              <a:pt x="488" y="0"/>
                              <a:pt x="488" y="0"/>
                              <a:pt x="488" y="0"/>
                            </a:cubicBezTo>
                            <a:cubicBezTo>
                              <a:pt x="486" y="0"/>
                              <a:pt x="484" y="1"/>
                              <a:pt x="484" y="5"/>
                            </a:cubicBezTo>
                            <a:cubicBezTo>
                              <a:pt x="484" y="7"/>
                              <a:pt x="486" y="9"/>
                              <a:pt x="488" y="9"/>
                            </a:cubicBezTo>
                            <a:cubicBezTo>
                              <a:pt x="500" y="9"/>
                              <a:pt x="500" y="9"/>
                              <a:pt x="500" y="9"/>
                            </a:cubicBezTo>
                            <a:cubicBezTo>
                              <a:pt x="500" y="57"/>
                              <a:pt x="500" y="57"/>
                              <a:pt x="500" y="57"/>
                            </a:cubicBezTo>
                            <a:cubicBezTo>
                              <a:pt x="488" y="57"/>
                              <a:pt x="488" y="57"/>
                              <a:pt x="488" y="57"/>
                            </a:cubicBezTo>
                            <a:cubicBezTo>
                              <a:pt x="486" y="57"/>
                              <a:pt x="484" y="58"/>
                              <a:pt x="484" y="61"/>
                            </a:cubicBezTo>
                            <a:cubicBezTo>
                              <a:pt x="484" y="64"/>
                              <a:pt x="486" y="65"/>
                              <a:pt x="488" y="65"/>
                            </a:cubicBezTo>
                            <a:cubicBezTo>
                              <a:pt x="521" y="65"/>
                              <a:pt x="521" y="65"/>
                              <a:pt x="521" y="65"/>
                            </a:cubicBezTo>
                            <a:cubicBezTo>
                              <a:pt x="524" y="65"/>
                              <a:pt x="526" y="64"/>
                              <a:pt x="526" y="61"/>
                            </a:cubicBezTo>
                            <a:cubicBezTo>
                              <a:pt x="526" y="40"/>
                              <a:pt x="526" y="40"/>
                              <a:pt x="526" y="40"/>
                            </a:cubicBezTo>
                            <a:cubicBezTo>
                              <a:pt x="526" y="38"/>
                              <a:pt x="525" y="36"/>
                              <a:pt x="521" y="36"/>
                            </a:cubicBezTo>
                            <a:cubicBezTo>
                              <a:pt x="519" y="36"/>
                              <a:pt x="517" y="38"/>
                              <a:pt x="517" y="40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lnTo>
                              <a:pt x="509" y="57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  <p:sp>
                    <p:nvSpPr>
                      <p:cNvPr id="280" name="Freeform 88">
                        <a:extLst>
                          <a:ext uri="{FF2B5EF4-FFF2-40B4-BE49-F238E27FC236}">
                            <a16:creationId xmlns:a16="http://schemas.microsoft.com/office/drawing/2014/main" id="{2B37EB06-9F15-4DFF-81DD-3BF16FE464A6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8240074" y="3595137"/>
                        <a:ext cx="1702503" cy="211421"/>
                      </a:xfrm>
                      <a:custGeom>
                        <a:avLst/>
                        <a:gdLst>
                          <a:gd name="T0" fmla="*/ 0 w 526"/>
                          <a:gd name="T1" fmla="*/ 57 h 65"/>
                          <a:gd name="T2" fmla="*/ 41 w 526"/>
                          <a:gd name="T3" fmla="*/ 57 h 65"/>
                          <a:gd name="T4" fmla="*/ 7 w 526"/>
                          <a:gd name="T5" fmla="*/ 0 h 65"/>
                          <a:gd name="T6" fmla="*/ 33 w 526"/>
                          <a:gd name="T7" fmla="*/ 57 h 65"/>
                          <a:gd name="T8" fmla="*/ 68 w 526"/>
                          <a:gd name="T9" fmla="*/ 0 h 65"/>
                          <a:gd name="T10" fmla="*/ 68 w 526"/>
                          <a:gd name="T11" fmla="*/ 65 h 65"/>
                          <a:gd name="T12" fmla="*/ 101 w 526"/>
                          <a:gd name="T13" fmla="*/ 9 h 65"/>
                          <a:gd name="T14" fmla="*/ 68 w 526"/>
                          <a:gd name="T15" fmla="*/ 9 h 65"/>
                          <a:gd name="T16" fmla="*/ 68 w 526"/>
                          <a:gd name="T17" fmla="*/ 57 h 65"/>
                          <a:gd name="T18" fmla="*/ 145 w 526"/>
                          <a:gd name="T19" fmla="*/ 0 h 65"/>
                          <a:gd name="T20" fmla="*/ 125 w 526"/>
                          <a:gd name="T21" fmla="*/ 9 h 65"/>
                          <a:gd name="T22" fmla="*/ 125 w 526"/>
                          <a:gd name="T23" fmla="*/ 57 h 65"/>
                          <a:gd name="T24" fmla="*/ 158 w 526"/>
                          <a:gd name="T25" fmla="*/ 65 h 65"/>
                          <a:gd name="T26" fmla="*/ 158 w 526"/>
                          <a:gd name="T27" fmla="*/ 36 h 65"/>
                          <a:gd name="T28" fmla="*/ 145 w 526"/>
                          <a:gd name="T29" fmla="*/ 57 h 65"/>
                          <a:gd name="T30" fmla="*/ 181 w 526"/>
                          <a:gd name="T31" fmla="*/ 57 h 65"/>
                          <a:gd name="T32" fmla="*/ 223 w 526"/>
                          <a:gd name="T33" fmla="*/ 57 h 65"/>
                          <a:gd name="T34" fmla="*/ 190 w 526"/>
                          <a:gd name="T35" fmla="*/ 0 h 65"/>
                          <a:gd name="T36" fmla="*/ 214 w 526"/>
                          <a:gd name="T37" fmla="*/ 57 h 65"/>
                          <a:gd name="T38" fmla="*/ 267 w 526"/>
                          <a:gd name="T39" fmla="*/ 57 h 65"/>
                          <a:gd name="T40" fmla="*/ 242 w 526"/>
                          <a:gd name="T41" fmla="*/ 5 h 65"/>
                          <a:gd name="T42" fmla="*/ 258 w 526"/>
                          <a:gd name="T43" fmla="*/ 57 h 65"/>
                          <a:gd name="T44" fmla="*/ 246 w 526"/>
                          <a:gd name="T45" fmla="*/ 65 h 65"/>
                          <a:gd name="T46" fmla="*/ 283 w 526"/>
                          <a:gd name="T47" fmla="*/ 40 h 65"/>
                          <a:gd name="T48" fmla="*/ 275 w 526"/>
                          <a:gd name="T49" fmla="*/ 57 h 65"/>
                          <a:gd name="T50" fmla="*/ 303 w 526"/>
                          <a:gd name="T51" fmla="*/ 9 h 65"/>
                          <a:gd name="T52" fmla="*/ 336 w 526"/>
                          <a:gd name="T53" fmla="*/ 65 h 65"/>
                          <a:gd name="T54" fmla="*/ 336 w 526"/>
                          <a:gd name="T55" fmla="*/ 0 h 65"/>
                          <a:gd name="T56" fmla="*/ 336 w 526"/>
                          <a:gd name="T57" fmla="*/ 9 h 65"/>
                          <a:gd name="T58" fmla="*/ 310 w 526"/>
                          <a:gd name="T59" fmla="*/ 9 h 65"/>
                          <a:gd name="T60" fmla="*/ 367 w 526"/>
                          <a:gd name="T61" fmla="*/ 0 h 65"/>
                          <a:gd name="T62" fmla="*/ 380 w 526"/>
                          <a:gd name="T63" fmla="*/ 9 h 65"/>
                          <a:gd name="T64" fmla="*/ 363 w 526"/>
                          <a:gd name="T65" fmla="*/ 61 h 65"/>
                          <a:gd name="T66" fmla="*/ 404 w 526"/>
                          <a:gd name="T67" fmla="*/ 61 h 65"/>
                          <a:gd name="T68" fmla="*/ 396 w 526"/>
                          <a:gd name="T69" fmla="*/ 40 h 65"/>
                          <a:gd name="T70" fmla="*/ 432 w 526"/>
                          <a:gd name="T71" fmla="*/ 0 h 65"/>
                          <a:gd name="T72" fmla="*/ 432 w 526"/>
                          <a:gd name="T73" fmla="*/ 65 h 65"/>
                          <a:gd name="T74" fmla="*/ 465 w 526"/>
                          <a:gd name="T75" fmla="*/ 9 h 65"/>
                          <a:gd name="T76" fmla="*/ 432 w 526"/>
                          <a:gd name="T77" fmla="*/ 9 h 65"/>
                          <a:gd name="T78" fmla="*/ 432 w 526"/>
                          <a:gd name="T79" fmla="*/ 57 h 65"/>
                          <a:gd name="T80" fmla="*/ 509 w 526"/>
                          <a:gd name="T81" fmla="*/ 0 h 65"/>
                          <a:gd name="T82" fmla="*/ 488 w 526"/>
                          <a:gd name="T83" fmla="*/ 9 h 65"/>
                          <a:gd name="T84" fmla="*/ 488 w 526"/>
                          <a:gd name="T85" fmla="*/ 57 h 65"/>
                          <a:gd name="T86" fmla="*/ 521 w 526"/>
                          <a:gd name="T87" fmla="*/ 65 h 65"/>
                          <a:gd name="T88" fmla="*/ 521 w 526"/>
                          <a:gd name="T89" fmla="*/ 36 h 65"/>
                          <a:gd name="T90" fmla="*/ 509 w 526"/>
                          <a:gd name="T91" fmla="*/ 57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7" y="0"/>
                            </a:moveTo>
                            <a:cubicBezTo>
                              <a:pt x="3" y="0"/>
                              <a:pt x="0" y="4"/>
                              <a:pt x="0" y="9"/>
                            </a:cubicBezTo>
                            <a:cubicBezTo>
                              <a:pt x="0" y="57"/>
                              <a:pt x="0" y="57"/>
                              <a:pt x="0" y="57"/>
                            </a:cubicBezTo>
                            <a:cubicBezTo>
                              <a:pt x="0" y="62"/>
                              <a:pt x="3" y="65"/>
                              <a:pt x="7" y="65"/>
                            </a:cubicBezTo>
                            <a:cubicBezTo>
                              <a:pt x="33" y="65"/>
                              <a:pt x="33" y="65"/>
                              <a:pt x="33" y="65"/>
                            </a:cubicBezTo>
                            <a:cubicBezTo>
                              <a:pt x="37" y="65"/>
                              <a:pt x="41" y="62"/>
                              <a:pt x="41" y="57"/>
                            </a:cubicBezTo>
                            <a:cubicBezTo>
                              <a:pt x="41" y="9"/>
                              <a:pt x="41" y="9"/>
                              <a:pt x="41" y="9"/>
                            </a:cubicBezTo>
                            <a:cubicBezTo>
                              <a:pt x="41" y="4"/>
                              <a:pt x="37" y="0"/>
                              <a:pt x="33" y="0"/>
                            </a:cubicBezTo>
                            <a:lnTo>
                              <a:pt x="7" y="0"/>
                            </a:lnTo>
                            <a:close/>
                            <a:moveTo>
                              <a:pt x="7" y="9"/>
                            </a:moveTo>
                            <a:cubicBezTo>
                              <a:pt x="33" y="9"/>
                              <a:pt x="33" y="9"/>
                              <a:pt x="33" y="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cubicBezTo>
                              <a:pt x="7" y="57"/>
                              <a:pt x="7" y="57"/>
                              <a:pt x="7" y="57"/>
                            </a:cubicBezTo>
                            <a:lnTo>
                              <a:pt x="7" y="9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9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2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2"/>
                              <a:pt x="101" y="57"/>
                            </a:cubicBezTo>
                            <a:cubicBezTo>
                              <a:pt x="101" y="9"/>
                              <a:pt x="101" y="9"/>
                              <a:pt x="101" y="9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9"/>
                            </a:moveTo>
                            <a:cubicBezTo>
                              <a:pt x="93" y="9"/>
                              <a:pt x="93" y="9"/>
                              <a:pt x="93" y="9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9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5"/>
                            </a:cubicBezTo>
                            <a:cubicBezTo>
                              <a:pt x="120" y="7"/>
                              <a:pt x="123" y="9"/>
                              <a:pt x="125" y="9"/>
                            </a:cubicBezTo>
                            <a:cubicBezTo>
                              <a:pt x="137" y="9"/>
                              <a:pt x="137" y="9"/>
                              <a:pt x="137" y="9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40"/>
                              <a:pt x="162" y="40"/>
                              <a:pt x="162" y="40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40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9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2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2"/>
                              <a:pt x="223" y="57"/>
                            </a:cubicBezTo>
                            <a:cubicBezTo>
                              <a:pt x="223" y="9"/>
                              <a:pt x="223" y="9"/>
                              <a:pt x="223" y="9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9"/>
                            </a:moveTo>
                            <a:cubicBezTo>
                              <a:pt x="214" y="9"/>
                              <a:pt x="214" y="9"/>
                              <a:pt x="214" y="9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9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5"/>
                            </a:cubicBezTo>
                            <a:cubicBezTo>
                              <a:pt x="242" y="7"/>
                              <a:pt x="244" y="9"/>
                              <a:pt x="246" y="9"/>
                            </a:cubicBezTo>
                            <a:cubicBezTo>
                              <a:pt x="258" y="9"/>
                              <a:pt x="258" y="9"/>
                              <a:pt x="258" y="9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40"/>
                              <a:pt x="283" y="40"/>
                              <a:pt x="283" y="40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40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9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2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2"/>
                              <a:pt x="344" y="57"/>
                            </a:cubicBezTo>
                            <a:cubicBezTo>
                              <a:pt x="344" y="9"/>
                              <a:pt x="344" y="9"/>
                              <a:pt x="344" y="9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9"/>
                            </a:moveTo>
                            <a:cubicBezTo>
                              <a:pt x="336" y="9"/>
                              <a:pt x="336" y="9"/>
                              <a:pt x="336" y="9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9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5"/>
                            </a:cubicBezTo>
                            <a:cubicBezTo>
                              <a:pt x="363" y="7"/>
                              <a:pt x="365" y="9"/>
                              <a:pt x="367" y="9"/>
                            </a:cubicBezTo>
                            <a:cubicBezTo>
                              <a:pt x="380" y="9"/>
                              <a:pt x="380" y="9"/>
                              <a:pt x="380" y="9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40"/>
                              <a:pt x="404" y="40"/>
                              <a:pt x="404" y="40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40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9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2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2"/>
                              <a:pt x="465" y="57"/>
                            </a:cubicBezTo>
                            <a:cubicBezTo>
                              <a:pt x="465" y="9"/>
                              <a:pt x="465" y="9"/>
                              <a:pt x="465" y="9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9"/>
                            </a:moveTo>
                            <a:cubicBezTo>
                              <a:pt x="457" y="9"/>
                              <a:pt x="457" y="9"/>
                              <a:pt x="457" y="9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9"/>
                            </a:lnTo>
                            <a:close/>
                            <a:moveTo>
                              <a:pt x="509" y="57"/>
                            </a:moveTo>
                            <a:cubicBezTo>
                              <a:pt x="509" y="0"/>
                              <a:pt x="509" y="0"/>
                              <a:pt x="509" y="0"/>
                            </a:cubicBezTo>
                            <a:cubicBezTo>
                              <a:pt x="488" y="0"/>
                              <a:pt x="488" y="0"/>
                              <a:pt x="488" y="0"/>
                            </a:cubicBezTo>
                            <a:cubicBezTo>
                              <a:pt x="486" y="0"/>
                              <a:pt x="484" y="1"/>
                              <a:pt x="484" y="5"/>
                            </a:cubicBezTo>
                            <a:cubicBezTo>
                              <a:pt x="484" y="7"/>
                              <a:pt x="486" y="9"/>
                              <a:pt x="488" y="9"/>
                            </a:cubicBezTo>
                            <a:cubicBezTo>
                              <a:pt x="500" y="9"/>
                              <a:pt x="500" y="9"/>
                              <a:pt x="500" y="9"/>
                            </a:cubicBezTo>
                            <a:cubicBezTo>
                              <a:pt x="500" y="57"/>
                              <a:pt x="500" y="57"/>
                              <a:pt x="500" y="57"/>
                            </a:cubicBezTo>
                            <a:cubicBezTo>
                              <a:pt x="488" y="57"/>
                              <a:pt x="488" y="57"/>
                              <a:pt x="488" y="57"/>
                            </a:cubicBezTo>
                            <a:cubicBezTo>
                              <a:pt x="486" y="57"/>
                              <a:pt x="484" y="58"/>
                              <a:pt x="484" y="61"/>
                            </a:cubicBezTo>
                            <a:cubicBezTo>
                              <a:pt x="484" y="64"/>
                              <a:pt x="486" y="65"/>
                              <a:pt x="488" y="65"/>
                            </a:cubicBezTo>
                            <a:cubicBezTo>
                              <a:pt x="521" y="65"/>
                              <a:pt x="521" y="65"/>
                              <a:pt x="521" y="65"/>
                            </a:cubicBezTo>
                            <a:cubicBezTo>
                              <a:pt x="524" y="65"/>
                              <a:pt x="526" y="64"/>
                              <a:pt x="526" y="61"/>
                            </a:cubicBezTo>
                            <a:cubicBezTo>
                              <a:pt x="526" y="40"/>
                              <a:pt x="526" y="40"/>
                              <a:pt x="526" y="40"/>
                            </a:cubicBezTo>
                            <a:cubicBezTo>
                              <a:pt x="526" y="38"/>
                              <a:pt x="525" y="36"/>
                              <a:pt x="521" y="36"/>
                            </a:cubicBezTo>
                            <a:cubicBezTo>
                              <a:pt x="519" y="36"/>
                              <a:pt x="517" y="38"/>
                              <a:pt x="517" y="40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lnTo>
                              <a:pt x="509" y="57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</p:grpSp>
                <p:grpSp>
                  <p:nvGrpSpPr>
                    <p:cNvPr id="1193" name="Group 1192">
                      <a:extLst>
                        <a:ext uri="{FF2B5EF4-FFF2-40B4-BE49-F238E27FC236}">
                          <a16:creationId xmlns:a16="http://schemas.microsoft.com/office/drawing/2014/main" id="{59949678-3036-4F8F-800E-10DFDF1839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448489" y="3388029"/>
                      <a:ext cx="3494088" cy="211421"/>
                      <a:chOff x="6448489" y="3272441"/>
                      <a:chExt cx="3494088" cy="211421"/>
                    </a:xfrm>
                  </p:grpSpPr>
                  <p:sp>
                    <p:nvSpPr>
                      <p:cNvPr id="278" name="Freeform 89">
                        <a:extLst>
                          <a:ext uri="{FF2B5EF4-FFF2-40B4-BE49-F238E27FC236}">
                            <a16:creationId xmlns:a16="http://schemas.microsoft.com/office/drawing/2014/main" id="{F9D0DD7A-4965-4667-8A27-3CADD363230C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448489" y="3272441"/>
                        <a:ext cx="1702503" cy="211421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40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6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6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6 h 65"/>
                          <a:gd name="T32" fmla="*/ 181 w 526"/>
                          <a:gd name="T33" fmla="*/ 56 h 65"/>
                          <a:gd name="T34" fmla="*/ 223 w 526"/>
                          <a:gd name="T35" fmla="*/ 56 h 65"/>
                          <a:gd name="T36" fmla="*/ 190 w 526"/>
                          <a:gd name="T37" fmla="*/ 0 h 65"/>
                          <a:gd name="T38" fmla="*/ 214 w 526"/>
                          <a:gd name="T39" fmla="*/ 56 h 65"/>
                          <a:gd name="T40" fmla="*/ 267 w 526"/>
                          <a:gd name="T41" fmla="*/ 56 h 65"/>
                          <a:gd name="T42" fmla="*/ 242 w 526"/>
                          <a:gd name="T43" fmla="*/ 4 h 65"/>
                          <a:gd name="T44" fmla="*/ 258 w 526"/>
                          <a:gd name="T45" fmla="*/ 56 h 65"/>
                          <a:gd name="T46" fmla="*/ 246 w 526"/>
                          <a:gd name="T47" fmla="*/ 65 h 65"/>
                          <a:gd name="T48" fmla="*/ 283 w 526"/>
                          <a:gd name="T49" fmla="*/ 40 h 65"/>
                          <a:gd name="T50" fmla="*/ 275 w 526"/>
                          <a:gd name="T51" fmla="*/ 56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40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6 h 65"/>
                          <a:gd name="T82" fmla="*/ 509 w 526"/>
                          <a:gd name="T83" fmla="*/ 0 h 65"/>
                          <a:gd name="T84" fmla="*/ 488 w 526"/>
                          <a:gd name="T85" fmla="*/ 8 h 65"/>
                          <a:gd name="T86" fmla="*/ 488 w 526"/>
                          <a:gd name="T87" fmla="*/ 56 h 65"/>
                          <a:gd name="T88" fmla="*/ 521 w 526"/>
                          <a:gd name="T89" fmla="*/ 65 h 65"/>
                          <a:gd name="T90" fmla="*/ 521 w 526"/>
                          <a:gd name="T91" fmla="*/ 36 h 65"/>
                          <a:gd name="T92" fmla="*/ 509 w 526"/>
                          <a:gd name="T93" fmla="*/ 56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6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6"/>
                              <a:pt x="16" y="56"/>
                              <a:pt x="16" y="56"/>
                            </a:cubicBezTo>
                            <a:cubicBezTo>
                              <a:pt x="4" y="56"/>
                              <a:pt x="4" y="56"/>
                              <a:pt x="4" y="56"/>
                            </a:cubicBezTo>
                            <a:cubicBezTo>
                              <a:pt x="1" y="56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40"/>
                              <a:pt x="41" y="40"/>
                              <a:pt x="41" y="40"/>
                            </a:cubicBezTo>
                            <a:cubicBezTo>
                              <a:pt x="41" y="37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7"/>
                              <a:pt x="33" y="40"/>
                            </a:cubicBezTo>
                            <a:cubicBezTo>
                              <a:pt x="33" y="56"/>
                              <a:pt x="33" y="56"/>
                              <a:pt x="33" y="56"/>
                            </a:cubicBezTo>
                            <a:lnTo>
                              <a:pt x="25" y="56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6"/>
                              <a:pt x="60" y="56"/>
                              <a:pt x="60" y="56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6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6"/>
                              <a:pt x="93" y="56"/>
                              <a:pt x="93" y="56"/>
                            </a:cubicBezTo>
                            <a:cubicBezTo>
                              <a:pt x="68" y="56"/>
                              <a:pt x="68" y="56"/>
                              <a:pt x="68" y="56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6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6"/>
                              <a:pt x="137" y="56"/>
                              <a:pt x="137" y="56"/>
                            </a:cubicBezTo>
                            <a:cubicBezTo>
                              <a:pt x="125" y="56"/>
                              <a:pt x="125" y="56"/>
                              <a:pt x="125" y="56"/>
                            </a:cubicBezTo>
                            <a:cubicBezTo>
                              <a:pt x="123" y="56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40"/>
                              <a:pt x="162" y="40"/>
                              <a:pt x="162" y="40"/>
                            </a:cubicBezTo>
                            <a:cubicBezTo>
                              <a:pt x="162" y="37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7"/>
                              <a:pt x="154" y="40"/>
                            </a:cubicBezTo>
                            <a:cubicBezTo>
                              <a:pt x="154" y="56"/>
                              <a:pt x="154" y="56"/>
                              <a:pt x="154" y="56"/>
                            </a:cubicBezTo>
                            <a:lnTo>
                              <a:pt x="145" y="56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6"/>
                              <a:pt x="181" y="56"/>
                              <a:pt x="181" y="56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6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6"/>
                              <a:pt x="214" y="56"/>
                              <a:pt x="214" y="56"/>
                            </a:cubicBezTo>
                            <a:cubicBezTo>
                              <a:pt x="190" y="56"/>
                              <a:pt x="190" y="56"/>
                              <a:pt x="190" y="56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6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6"/>
                              <a:pt x="258" y="56"/>
                              <a:pt x="258" y="56"/>
                            </a:cubicBezTo>
                            <a:cubicBezTo>
                              <a:pt x="246" y="56"/>
                              <a:pt x="246" y="56"/>
                              <a:pt x="246" y="56"/>
                            </a:cubicBezTo>
                            <a:cubicBezTo>
                              <a:pt x="244" y="56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40"/>
                              <a:pt x="283" y="40"/>
                              <a:pt x="283" y="40"/>
                            </a:cubicBezTo>
                            <a:cubicBezTo>
                              <a:pt x="283" y="37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7"/>
                              <a:pt x="275" y="40"/>
                            </a:cubicBezTo>
                            <a:cubicBezTo>
                              <a:pt x="275" y="56"/>
                              <a:pt x="275" y="56"/>
                              <a:pt x="275" y="56"/>
                            </a:cubicBezTo>
                            <a:lnTo>
                              <a:pt x="267" y="56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6"/>
                              <a:pt x="303" y="56"/>
                              <a:pt x="303" y="56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6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6"/>
                              <a:pt x="336" y="56"/>
                              <a:pt x="336" y="56"/>
                            </a:cubicBezTo>
                            <a:cubicBezTo>
                              <a:pt x="310" y="56"/>
                              <a:pt x="310" y="56"/>
                              <a:pt x="310" y="56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6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6"/>
                              <a:pt x="380" y="56"/>
                              <a:pt x="380" y="56"/>
                            </a:cubicBezTo>
                            <a:cubicBezTo>
                              <a:pt x="367" y="56"/>
                              <a:pt x="367" y="56"/>
                              <a:pt x="367" y="56"/>
                            </a:cubicBezTo>
                            <a:cubicBezTo>
                              <a:pt x="365" y="56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40"/>
                              <a:pt x="404" y="40"/>
                              <a:pt x="404" y="40"/>
                            </a:cubicBezTo>
                            <a:cubicBezTo>
                              <a:pt x="404" y="37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7"/>
                              <a:pt x="396" y="40"/>
                            </a:cubicBezTo>
                            <a:cubicBezTo>
                              <a:pt x="396" y="56"/>
                              <a:pt x="396" y="56"/>
                              <a:pt x="396" y="56"/>
                            </a:cubicBezTo>
                            <a:lnTo>
                              <a:pt x="388" y="56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6"/>
                              <a:pt x="423" y="56"/>
                              <a:pt x="423" y="56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6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6"/>
                              <a:pt x="457" y="56"/>
                              <a:pt x="457" y="56"/>
                            </a:cubicBezTo>
                            <a:cubicBezTo>
                              <a:pt x="432" y="56"/>
                              <a:pt x="432" y="56"/>
                              <a:pt x="432" y="56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509" y="56"/>
                            </a:moveTo>
                            <a:cubicBezTo>
                              <a:pt x="509" y="0"/>
                              <a:pt x="509" y="0"/>
                              <a:pt x="509" y="0"/>
                            </a:cubicBezTo>
                            <a:cubicBezTo>
                              <a:pt x="488" y="0"/>
                              <a:pt x="488" y="0"/>
                              <a:pt x="488" y="0"/>
                            </a:cubicBezTo>
                            <a:cubicBezTo>
                              <a:pt x="486" y="0"/>
                              <a:pt x="484" y="1"/>
                              <a:pt x="484" y="4"/>
                            </a:cubicBezTo>
                            <a:cubicBezTo>
                              <a:pt x="484" y="7"/>
                              <a:pt x="486" y="8"/>
                              <a:pt x="488" y="8"/>
                            </a:cubicBezTo>
                            <a:cubicBezTo>
                              <a:pt x="500" y="8"/>
                              <a:pt x="500" y="8"/>
                              <a:pt x="500" y="8"/>
                            </a:cubicBezTo>
                            <a:cubicBezTo>
                              <a:pt x="500" y="56"/>
                              <a:pt x="500" y="56"/>
                              <a:pt x="500" y="56"/>
                            </a:cubicBezTo>
                            <a:cubicBezTo>
                              <a:pt x="488" y="56"/>
                              <a:pt x="488" y="56"/>
                              <a:pt x="488" y="56"/>
                            </a:cubicBezTo>
                            <a:cubicBezTo>
                              <a:pt x="486" y="56"/>
                              <a:pt x="484" y="58"/>
                              <a:pt x="484" y="61"/>
                            </a:cubicBezTo>
                            <a:cubicBezTo>
                              <a:pt x="484" y="64"/>
                              <a:pt x="486" y="65"/>
                              <a:pt x="488" y="65"/>
                            </a:cubicBezTo>
                            <a:cubicBezTo>
                              <a:pt x="521" y="65"/>
                              <a:pt x="521" y="65"/>
                              <a:pt x="521" y="65"/>
                            </a:cubicBezTo>
                            <a:cubicBezTo>
                              <a:pt x="524" y="65"/>
                              <a:pt x="526" y="64"/>
                              <a:pt x="526" y="61"/>
                            </a:cubicBezTo>
                            <a:cubicBezTo>
                              <a:pt x="526" y="40"/>
                              <a:pt x="526" y="40"/>
                              <a:pt x="526" y="40"/>
                            </a:cubicBezTo>
                            <a:cubicBezTo>
                              <a:pt x="526" y="37"/>
                              <a:pt x="525" y="36"/>
                              <a:pt x="521" y="36"/>
                            </a:cubicBezTo>
                            <a:cubicBezTo>
                              <a:pt x="519" y="36"/>
                              <a:pt x="517" y="37"/>
                              <a:pt x="517" y="40"/>
                            </a:cubicBezTo>
                            <a:cubicBezTo>
                              <a:pt x="517" y="56"/>
                              <a:pt x="517" y="56"/>
                              <a:pt x="517" y="56"/>
                            </a:cubicBezTo>
                            <a:lnTo>
                              <a:pt x="509" y="56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  <p:sp>
                    <p:nvSpPr>
                      <p:cNvPr id="281" name="Freeform 89">
                        <a:extLst>
                          <a:ext uri="{FF2B5EF4-FFF2-40B4-BE49-F238E27FC236}">
                            <a16:creationId xmlns:a16="http://schemas.microsoft.com/office/drawing/2014/main" id="{CE213499-D314-46F0-B81A-E01A5C894DC9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8240074" y="3272441"/>
                        <a:ext cx="1702503" cy="211421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40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6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6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6 h 65"/>
                          <a:gd name="T32" fmla="*/ 181 w 526"/>
                          <a:gd name="T33" fmla="*/ 56 h 65"/>
                          <a:gd name="T34" fmla="*/ 223 w 526"/>
                          <a:gd name="T35" fmla="*/ 56 h 65"/>
                          <a:gd name="T36" fmla="*/ 190 w 526"/>
                          <a:gd name="T37" fmla="*/ 0 h 65"/>
                          <a:gd name="T38" fmla="*/ 214 w 526"/>
                          <a:gd name="T39" fmla="*/ 56 h 65"/>
                          <a:gd name="T40" fmla="*/ 267 w 526"/>
                          <a:gd name="T41" fmla="*/ 56 h 65"/>
                          <a:gd name="T42" fmla="*/ 242 w 526"/>
                          <a:gd name="T43" fmla="*/ 4 h 65"/>
                          <a:gd name="T44" fmla="*/ 258 w 526"/>
                          <a:gd name="T45" fmla="*/ 56 h 65"/>
                          <a:gd name="T46" fmla="*/ 246 w 526"/>
                          <a:gd name="T47" fmla="*/ 65 h 65"/>
                          <a:gd name="T48" fmla="*/ 283 w 526"/>
                          <a:gd name="T49" fmla="*/ 40 h 65"/>
                          <a:gd name="T50" fmla="*/ 275 w 526"/>
                          <a:gd name="T51" fmla="*/ 56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40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6 h 65"/>
                          <a:gd name="T82" fmla="*/ 509 w 526"/>
                          <a:gd name="T83" fmla="*/ 0 h 65"/>
                          <a:gd name="T84" fmla="*/ 488 w 526"/>
                          <a:gd name="T85" fmla="*/ 8 h 65"/>
                          <a:gd name="T86" fmla="*/ 488 w 526"/>
                          <a:gd name="T87" fmla="*/ 56 h 65"/>
                          <a:gd name="T88" fmla="*/ 521 w 526"/>
                          <a:gd name="T89" fmla="*/ 65 h 65"/>
                          <a:gd name="T90" fmla="*/ 521 w 526"/>
                          <a:gd name="T91" fmla="*/ 36 h 65"/>
                          <a:gd name="T92" fmla="*/ 509 w 526"/>
                          <a:gd name="T93" fmla="*/ 56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  <a:cxn ang="0">
                            <a:pos x="T92" y="T93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6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6"/>
                              <a:pt x="16" y="56"/>
                              <a:pt x="16" y="56"/>
                            </a:cubicBezTo>
                            <a:cubicBezTo>
                              <a:pt x="4" y="56"/>
                              <a:pt x="4" y="56"/>
                              <a:pt x="4" y="56"/>
                            </a:cubicBezTo>
                            <a:cubicBezTo>
                              <a:pt x="1" y="56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40"/>
                              <a:pt x="41" y="40"/>
                              <a:pt x="41" y="40"/>
                            </a:cubicBezTo>
                            <a:cubicBezTo>
                              <a:pt x="41" y="37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7"/>
                              <a:pt x="33" y="40"/>
                            </a:cubicBezTo>
                            <a:cubicBezTo>
                              <a:pt x="33" y="56"/>
                              <a:pt x="33" y="56"/>
                              <a:pt x="33" y="56"/>
                            </a:cubicBezTo>
                            <a:lnTo>
                              <a:pt x="25" y="56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6"/>
                              <a:pt x="60" y="56"/>
                              <a:pt x="60" y="56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6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6"/>
                              <a:pt x="93" y="56"/>
                              <a:pt x="93" y="56"/>
                            </a:cubicBezTo>
                            <a:cubicBezTo>
                              <a:pt x="68" y="56"/>
                              <a:pt x="68" y="56"/>
                              <a:pt x="68" y="56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6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6"/>
                              <a:pt x="137" y="56"/>
                              <a:pt x="137" y="56"/>
                            </a:cubicBezTo>
                            <a:cubicBezTo>
                              <a:pt x="125" y="56"/>
                              <a:pt x="125" y="56"/>
                              <a:pt x="125" y="56"/>
                            </a:cubicBezTo>
                            <a:cubicBezTo>
                              <a:pt x="123" y="56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40"/>
                              <a:pt x="162" y="40"/>
                              <a:pt x="162" y="40"/>
                            </a:cubicBezTo>
                            <a:cubicBezTo>
                              <a:pt x="162" y="37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7"/>
                              <a:pt x="154" y="40"/>
                            </a:cubicBezTo>
                            <a:cubicBezTo>
                              <a:pt x="154" y="56"/>
                              <a:pt x="154" y="56"/>
                              <a:pt x="154" y="56"/>
                            </a:cubicBezTo>
                            <a:lnTo>
                              <a:pt x="145" y="56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6"/>
                              <a:pt x="181" y="56"/>
                              <a:pt x="181" y="56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6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6"/>
                              <a:pt x="214" y="56"/>
                              <a:pt x="214" y="56"/>
                            </a:cubicBezTo>
                            <a:cubicBezTo>
                              <a:pt x="190" y="56"/>
                              <a:pt x="190" y="56"/>
                              <a:pt x="190" y="56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6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6"/>
                              <a:pt x="258" y="56"/>
                              <a:pt x="258" y="56"/>
                            </a:cubicBezTo>
                            <a:cubicBezTo>
                              <a:pt x="246" y="56"/>
                              <a:pt x="246" y="56"/>
                              <a:pt x="246" y="56"/>
                            </a:cubicBezTo>
                            <a:cubicBezTo>
                              <a:pt x="244" y="56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40"/>
                              <a:pt x="283" y="40"/>
                              <a:pt x="283" y="40"/>
                            </a:cubicBezTo>
                            <a:cubicBezTo>
                              <a:pt x="283" y="37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7"/>
                              <a:pt x="275" y="40"/>
                            </a:cubicBezTo>
                            <a:cubicBezTo>
                              <a:pt x="275" y="56"/>
                              <a:pt x="275" y="56"/>
                              <a:pt x="275" y="56"/>
                            </a:cubicBezTo>
                            <a:lnTo>
                              <a:pt x="267" y="56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6"/>
                              <a:pt x="303" y="56"/>
                              <a:pt x="303" y="56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6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6"/>
                              <a:pt x="336" y="56"/>
                              <a:pt x="336" y="56"/>
                            </a:cubicBezTo>
                            <a:cubicBezTo>
                              <a:pt x="310" y="56"/>
                              <a:pt x="310" y="56"/>
                              <a:pt x="310" y="56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6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6"/>
                              <a:pt x="380" y="56"/>
                              <a:pt x="380" y="56"/>
                            </a:cubicBezTo>
                            <a:cubicBezTo>
                              <a:pt x="367" y="56"/>
                              <a:pt x="367" y="56"/>
                              <a:pt x="367" y="56"/>
                            </a:cubicBezTo>
                            <a:cubicBezTo>
                              <a:pt x="365" y="56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40"/>
                              <a:pt x="404" y="40"/>
                              <a:pt x="404" y="40"/>
                            </a:cubicBezTo>
                            <a:cubicBezTo>
                              <a:pt x="404" y="37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7"/>
                              <a:pt x="396" y="40"/>
                            </a:cubicBezTo>
                            <a:cubicBezTo>
                              <a:pt x="396" y="56"/>
                              <a:pt x="396" y="56"/>
                              <a:pt x="396" y="56"/>
                            </a:cubicBezTo>
                            <a:lnTo>
                              <a:pt x="388" y="56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6"/>
                              <a:pt x="423" y="56"/>
                              <a:pt x="423" y="56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6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6"/>
                              <a:pt x="457" y="56"/>
                              <a:pt x="457" y="56"/>
                            </a:cubicBezTo>
                            <a:cubicBezTo>
                              <a:pt x="432" y="56"/>
                              <a:pt x="432" y="56"/>
                              <a:pt x="432" y="56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509" y="56"/>
                            </a:moveTo>
                            <a:cubicBezTo>
                              <a:pt x="509" y="0"/>
                              <a:pt x="509" y="0"/>
                              <a:pt x="509" y="0"/>
                            </a:cubicBezTo>
                            <a:cubicBezTo>
                              <a:pt x="488" y="0"/>
                              <a:pt x="488" y="0"/>
                              <a:pt x="488" y="0"/>
                            </a:cubicBezTo>
                            <a:cubicBezTo>
                              <a:pt x="486" y="0"/>
                              <a:pt x="484" y="1"/>
                              <a:pt x="484" y="4"/>
                            </a:cubicBezTo>
                            <a:cubicBezTo>
                              <a:pt x="484" y="7"/>
                              <a:pt x="486" y="8"/>
                              <a:pt x="488" y="8"/>
                            </a:cubicBezTo>
                            <a:cubicBezTo>
                              <a:pt x="500" y="8"/>
                              <a:pt x="500" y="8"/>
                              <a:pt x="500" y="8"/>
                            </a:cubicBezTo>
                            <a:cubicBezTo>
                              <a:pt x="500" y="56"/>
                              <a:pt x="500" y="56"/>
                              <a:pt x="500" y="56"/>
                            </a:cubicBezTo>
                            <a:cubicBezTo>
                              <a:pt x="488" y="56"/>
                              <a:pt x="488" y="56"/>
                              <a:pt x="488" y="56"/>
                            </a:cubicBezTo>
                            <a:cubicBezTo>
                              <a:pt x="486" y="56"/>
                              <a:pt x="484" y="58"/>
                              <a:pt x="484" y="61"/>
                            </a:cubicBezTo>
                            <a:cubicBezTo>
                              <a:pt x="484" y="64"/>
                              <a:pt x="486" y="65"/>
                              <a:pt x="488" y="65"/>
                            </a:cubicBezTo>
                            <a:cubicBezTo>
                              <a:pt x="521" y="65"/>
                              <a:pt x="521" y="65"/>
                              <a:pt x="521" y="65"/>
                            </a:cubicBezTo>
                            <a:cubicBezTo>
                              <a:pt x="524" y="65"/>
                              <a:pt x="526" y="64"/>
                              <a:pt x="526" y="61"/>
                            </a:cubicBezTo>
                            <a:cubicBezTo>
                              <a:pt x="526" y="40"/>
                              <a:pt x="526" y="40"/>
                              <a:pt x="526" y="40"/>
                            </a:cubicBezTo>
                            <a:cubicBezTo>
                              <a:pt x="526" y="37"/>
                              <a:pt x="525" y="36"/>
                              <a:pt x="521" y="36"/>
                            </a:cubicBezTo>
                            <a:cubicBezTo>
                              <a:pt x="519" y="36"/>
                              <a:pt x="517" y="37"/>
                              <a:pt x="517" y="40"/>
                            </a:cubicBezTo>
                            <a:cubicBezTo>
                              <a:pt x="517" y="56"/>
                              <a:pt x="517" y="56"/>
                              <a:pt x="517" y="56"/>
                            </a:cubicBezTo>
                            <a:lnTo>
                              <a:pt x="509" y="56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</p:grpSp>
                <p:grpSp>
                  <p:nvGrpSpPr>
                    <p:cNvPr id="288" name="Group 287">
                      <a:extLst>
                        <a:ext uri="{FF2B5EF4-FFF2-40B4-BE49-F238E27FC236}">
                          <a16:creationId xmlns:a16="http://schemas.microsoft.com/office/drawing/2014/main" id="{FB215272-A240-4A53-BDE1-A83F892CEF6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448489" y="4380219"/>
                      <a:ext cx="3494088" cy="205860"/>
                      <a:chOff x="6448489" y="3923399"/>
                      <a:chExt cx="3494088" cy="205860"/>
                    </a:xfrm>
                  </p:grpSpPr>
                  <p:sp>
                    <p:nvSpPr>
                      <p:cNvPr id="289" name="Freeform 87">
                        <a:extLst>
                          <a:ext uri="{FF2B5EF4-FFF2-40B4-BE49-F238E27FC236}">
                            <a16:creationId xmlns:a16="http://schemas.microsoft.com/office/drawing/2014/main" id="{79E29ADE-D6BE-4362-81C8-5D7437AFE399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448489" y="3923399"/>
                        <a:ext cx="1702503" cy="205860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39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7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7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7 h 65"/>
                          <a:gd name="T32" fmla="*/ 181 w 526"/>
                          <a:gd name="T33" fmla="*/ 57 h 65"/>
                          <a:gd name="T34" fmla="*/ 223 w 526"/>
                          <a:gd name="T35" fmla="*/ 57 h 65"/>
                          <a:gd name="T36" fmla="*/ 190 w 526"/>
                          <a:gd name="T37" fmla="*/ 0 h 65"/>
                          <a:gd name="T38" fmla="*/ 214 w 526"/>
                          <a:gd name="T39" fmla="*/ 57 h 65"/>
                          <a:gd name="T40" fmla="*/ 267 w 526"/>
                          <a:gd name="T41" fmla="*/ 57 h 65"/>
                          <a:gd name="T42" fmla="*/ 242 w 526"/>
                          <a:gd name="T43" fmla="*/ 4 h 65"/>
                          <a:gd name="T44" fmla="*/ 258 w 526"/>
                          <a:gd name="T45" fmla="*/ 57 h 65"/>
                          <a:gd name="T46" fmla="*/ 246 w 526"/>
                          <a:gd name="T47" fmla="*/ 65 h 65"/>
                          <a:gd name="T48" fmla="*/ 283 w 526"/>
                          <a:gd name="T49" fmla="*/ 39 h 65"/>
                          <a:gd name="T50" fmla="*/ 275 w 526"/>
                          <a:gd name="T51" fmla="*/ 57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39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7 h 65"/>
                          <a:gd name="T82" fmla="*/ 484 w 526"/>
                          <a:gd name="T83" fmla="*/ 8 h 65"/>
                          <a:gd name="T84" fmla="*/ 517 w 526"/>
                          <a:gd name="T85" fmla="*/ 65 h 65"/>
                          <a:gd name="T86" fmla="*/ 517 w 526"/>
                          <a:gd name="T87" fmla="*/ 0 h 65"/>
                          <a:gd name="T88" fmla="*/ 517 w 526"/>
                          <a:gd name="T89" fmla="*/ 8 h 65"/>
                          <a:gd name="T90" fmla="*/ 493 w 526"/>
                          <a:gd name="T91" fmla="*/ 8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7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7"/>
                              <a:pt x="16" y="57"/>
                              <a:pt x="16" y="57"/>
                            </a:cubicBezTo>
                            <a:cubicBezTo>
                              <a:pt x="4" y="57"/>
                              <a:pt x="4" y="57"/>
                              <a:pt x="4" y="57"/>
                            </a:cubicBezTo>
                            <a:cubicBezTo>
                              <a:pt x="1" y="57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39"/>
                              <a:pt x="41" y="39"/>
                              <a:pt x="41" y="39"/>
                            </a:cubicBezTo>
                            <a:cubicBezTo>
                              <a:pt x="41" y="38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8"/>
                              <a:pt x="33" y="3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lnTo>
                              <a:pt x="25" y="57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7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39"/>
                              <a:pt x="162" y="39"/>
                              <a:pt x="162" y="39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39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7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39"/>
                              <a:pt x="283" y="39"/>
                              <a:pt x="283" y="39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39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7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39"/>
                              <a:pt x="404" y="39"/>
                              <a:pt x="404" y="39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39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7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493" y="0"/>
                            </a:moveTo>
                            <a:cubicBezTo>
                              <a:pt x="488" y="0"/>
                              <a:pt x="484" y="4"/>
                              <a:pt x="484" y="8"/>
                            </a:cubicBezTo>
                            <a:cubicBezTo>
                              <a:pt x="484" y="57"/>
                              <a:pt x="484" y="57"/>
                              <a:pt x="484" y="57"/>
                            </a:cubicBezTo>
                            <a:cubicBezTo>
                              <a:pt x="484" y="61"/>
                              <a:pt x="488" y="65"/>
                              <a:pt x="493" y="65"/>
                            </a:cubicBezTo>
                            <a:cubicBezTo>
                              <a:pt x="517" y="65"/>
                              <a:pt x="517" y="65"/>
                              <a:pt x="517" y="65"/>
                            </a:cubicBezTo>
                            <a:cubicBezTo>
                              <a:pt x="522" y="65"/>
                              <a:pt x="526" y="61"/>
                              <a:pt x="526" y="57"/>
                            </a:cubicBezTo>
                            <a:cubicBezTo>
                              <a:pt x="526" y="8"/>
                              <a:pt x="526" y="8"/>
                              <a:pt x="526" y="8"/>
                            </a:cubicBezTo>
                            <a:cubicBezTo>
                              <a:pt x="526" y="4"/>
                              <a:pt x="522" y="0"/>
                              <a:pt x="517" y="0"/>
                            </a:cubicBezTo>
                            <a:lnTo>
                              <a:pt x="493" y="0"/>
                            </a:lnTo>
                            <a:close/>
                            <a:moveTo>
                              <a:pt x="493" y="8"/>
                            </a:moveTo>
                            <a:cubicBezTo>
                              <a:pt x="517" y="8"/>
                              <a:pt x="517" y="8"/>
                              <a:pt x="517" y="8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cubicBezTo>
                              <a:pt x="493" y="57"/>
                              <a:pt x="493" y="57"/>
                              <a:pt x="493" y="57"/>
                            </a:cubicBezTo>
                            <a:lnTo>
                              <a:pt x="493" y="8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  <p:sp>
                    <p:nvSpPr>
                      <p:cNvPr id="290" name="Freeform 87">
                        <a:extLst>
                          <a:ext uri="{FF2B5EF4-FFF2-40B4-BE49-F238E27FC236}">
                            <a16:creationId xmlns:a16="http://schemas.microsoft.com/office/drawing/2014/main" id="{5B215F8F-079A-4A2B-9F00-785D3CADEFE2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8240074" y="3923399"/>
                        <a:ext cx="1702503" cy="205860"/>
                      </a:xfrm>
                      <a:custGeom>
                        <a:avLst/>
                        <a:gdLst>
                          <a:gd name="T0" fmla="*/ 4 w 526"/>
                          <a:gd name="T1" fmla="*/ 0 h 65"/>
                          <a:gd name="T2" fmla="*/ 16 w 526"/>
                          <a:gd name="T3" fmla="*/ 8 h 65"/>
                          <a:gd name="T4" fmla="*/ 0 w 526"/>
                          <a:gd name="T5" fmla="*/ 61 h 65"/>
                          <a:gd name="T6" fmla="*/ 41 w 526"/>
                          <a:gd name="T7" fmla="*/ 61 h 65"/>
                          <a:gd name="T8" fmla="*/ 33 w 526"/>
                          <a:gd name="T9" fmla="*/ 39 h 65"/>
                          <a:gd name="T10" fmla="*/ 68 w 526"/>
                          <a:gd name="T11" fmla="*/ 0 h 65"/>
                          <a:gd name="T12" fmla="*/ 68 w 526"/>
                          <a:gd name="T13" fmla="*/ 65 h 65"/>
                          <a:gd name="T14" fmla="*/ 101 w 526"/>
                          <a:gd name="T15" fmla="*/ 8 h 65"/>
                          <a:gd name="T16" fmla="*/ 68 w 526"/>
                          <a:gd name="T17" fmla="*/ 8 h 65"/>
                          <a:gd name="T18" fmla="*/ 68 w 526"/>
                          <a:gd name="T19" fmla="*/ 57 h 65"/>
                          <a:gd name="T20" fmla="*/ 145 w 526"/>
                          <a:gd name="T21" fmla="*/ 0 h 65"/>
                          <a:gd name="T22" fmla="*/ 125 w 526"/>
                          <a:gd name="T23" fmla="*/ 8 h 65"/>
                          <a:gd name="T24" fmla="*/ 125 w 526"/>
                          <a:gd name="T25" fmla="*/ 57 h 65"/>
                          <a:gd name="T26" fmla="*/ 158 w 526"/>
                          <a:gd name="T27" fmla="*/ 65 h 65"/>
                          <a:gd name="T28" fmla="*/ 158 w 526"/>
                          <a:gd name="T29" fmla="*/ 36 h 65"/>
                          <a:gd name="T30" fmla="*/ 145 w 526"/>
                          <a:gd name="T31" fmla="*/ 57 h 65"/>
                          <a:gd name="T32" fmla="*/ 181 w 526"/>
                          <a:gd name="T33" fmla="*/ 57 h 65"/>
                          <a:gd name="T34" fmla="*/ 223 w 526"/>
                          <a:gd name="T35" fmla="*/ 57 h 65"/>
                          <a:gd name="T36" fmla="*/ 190 w 526"/>
                          <a:gd name="T37" fmla="*/ 0 h 65"/>
                          <a:gd name="T38" fmla="*/ 214 w 526"/>
                          <a:gd name="T39" fmla="*/ 57 h 65"/>
                          <a:gd name="T40" fmla="*/ 267 w 526"/>
                          <a:gd name="T41" fmla="*/ 57 h 65"/>
                          <a:gd name="T42" fmla="*/ 242 w 526"/>
                          <a:gd name="T43" fmla="*/ 4 h 65"/>
                          <a:gd name="T44" fmla="*/ 258 w 526"/>
                          <a:gd name="T45" fmla="*/ 57 h 65"/>
                          <a:gd name="T46" fmla="*/ 246 w 526"/>
                          <a:gd name="T47" fmla="*/ 65 h 65"/>
                          <a:gd name="T48" fmla="*/ 283 w 526"/>
                          <a:gd name="T49" fmla="*/ 39 h 65"/>
                          <a:gd name="T50" fmla="*/ 275 w 526"/>
                          <a:gd name="T51" fmla="*/ 57 h 65"/>
                          <a:gd name="T52" fmla="*/ 303 w 526"/>
                          <a:gd name="T53" fmla="*/ 8 h 65"/>
                          <a:gd name="T54" fmla="*/ 336 w 526"/>
                          <a:gd name="T55" fmla="*/ 65 h 65"/>
                          <a:gd name="T56" fmla="*/ 336 w 526"/>
                          <a:gd name="T57" fmla="*/ 0 h 65"/>
                          <a:gd name="T58" fmla="*/ 336 w 526"/>
                          <a:gd name="T59" fmla="*/ 8 h 65"/>
                          <a:gd name="T60" fmla="*/ 310 w 526"/>
                          <a:gd name="T61" fmla="*/ 8 h 65"/>
                          <a:gd name="T62" fmla="*/ 367 w 526"/>
                          <a:gd name="T63" fmla="*/ 0 h 65"/>
                          <a:gd name="T64" fmla="*/ 380 w 526"/>
                          <a:gd name="T65" fmla="*/ 8 h 65"/>
                          <a:gd name="T66" fmla="*/ 363 w 526"/>
                          <a:gd name="T67" fmla="*/ 61 h 65"/>
                          <a:gd name="T68" fmla="*/ 404 w 526"/>
                          <a:gd name="T69" fmla="*/ 61 h 65"/>
                          <a:gd name="T70" fmla="*/ 396 w 526"/>
                          <a:gd name="T71" fmla="*/ 39 h 65"/>
                          <a:gd name="T72" fmla="*/ 432 w 526"/>
                          <a:gd name="T73" fmla="*/ 0 h 65"/>
                          <a:gd name="T74" fmla="*/ 432 w 526"/>
                          <a:gd name="T75" fmla="*/ 65 h 65"/>
                          <a:gd name="T76" fmla="*/ 465 w 526"/>
                          <a:gd name="T77" fmla="*/ 8 h 65"/>
                          <a:gd name="T78" fmla="*/ 432 w 526"/>
                          <a:gd name="T79" fmla="*/ 8 h 65"/>
                          <a:gd name="T80" fmla="*/ 432 w 526"/>
                          <a:gd name="T81" fmla="*/ 57 h 65"/>
                          <a:gd name="T82" fmla="*/ 484 w 526"/>
                          <a:gd name="T83" fmla="*/ 8 h 65"/>
                          <a:gd name="T84" fmla="*/ 517 w 526"/>
                          <a:gd name="T85" fmla="*/ 65 h 65"/>
                          <a:gd name="T86" fmla="*/ 517 w 526"/>
                          <a:gd name="T87" fmla="*/ 0 h 65"/>
                          <a:gd name="T88" fmla="*/ 517 w 526"/>
                          <a:gd name="T89" fmla="*/ 8 h 65"/>
                          <a:gd name="T90" fmla="*/ 493 w 526"/>
                          <a:gd name="T91" fmla="*/ 8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  <a:cxn ang="0">
                            <a:pos x="T86" y="T87"/>
                          </a:cxn>
                          <a:cxn ang="0">
                            <a:pos x="T88" y="T89"/>
                          </a:cxn>
                          <a:cxn ang="0">
                            <a:pos x="T90" y="T91"/>
                          </a:cxn>
                        </a:cxnLst>
                        <a:rect l="0" t="0" r="r" b="b"/>
                        <a:pathLst>
                          <a:path w="526" h="65">
                            <a:moveTo>
                              <a:pt x="25" y="57"/>
                            </a:moveTo>
                            <a:cubicBezTo>
                              <a:pt x="25" y="0"/>
                              <a:pt x="25" y="0"/>
                              <a:pt x="25" y="0"/>
                            </a:cubicBezTo>
                            <a:cubicBezTo>
                              <a:pt x="4" y="0"/>
                              <a:pt x="4" y="0"/>
                              <a:pt x="4" y="0"/>
                            </a:cubicBezTo>
                            <a:cubicBezTo>
                              <a:pt x="1" y="0"/>
                              <a:pt x="0" y="1"/>
                              <a:pt x="0" y="4"/>
                            </a:cubicBezTo>
                            <a:cubicBezTo>
                              <a:pt x="0" y="7"/>
                              <a:pt x="1" y="8"/>
                              <a:pt x="4" y="8"/>
                            </a:cubicBezTo>
                            <a:cubicBezTo>
                              <a:pt x="16" y="8"/>
                              <a:pt x="16" y="8"/>
                              <a:pt x="16" y="8"/>
                            </a:cubicBezTo>
                            <a:cubicBezTo>
                              <a:pt x="16" y="57"/>
                              <a:pt x="16" y="57"/>
                              <a:pt x="16" y="57"/>
                            </a:cubicBezTo>
                            <a:cubicBezTo>
                              <a:pt x="4" y="57"/>
                              <a:pt x="4" y="57"/>
                              <a:pt x="4" y="57"/>
                            </a:cubicBezTo>
                            <a:cubicBezTo>
                              <a:pt x="1" y="57"/>
                              <a:pt x="0" y="58"/>
                              <a:pt x="0" y="61"/>
                            </a:cubicBezTo>
                            <a:cubicBezTo>
                              <a:pt x="0" y="64"/>
                              <a:pt x="1" y="65"/>
                              <a:pt x="4" y="65"/>
                            </a:cubicBezTo>
                            <a:cubicBezTo>
                              <a:pt x="37" y="65"/>
                              <a:pt x="37" y="65"/>
                              <a:pt x="37" y="65"/>
                            </a:cubicBezTo>
                            <a:cubicBezTo>
                              <a:pt x="39" y="65"/>
                              <a:pt x="41" y="64"/>
                              <a:pt x="41" y="61"/>
                            </a:cubicBezTo>
                            <a:cubicBezTo>
                              <a:pt x="41" y="39"/>
                              <a:pt x="41" y="39"/>
                              <a:pt x="41" y="39"/>
                            </a:cubicBezTo>
                            <a:cubicBezTo>
                              <a:pt x="41" y="38"/>
                              <a:pt x="40" y="36"/>
                              <a:pt x="37" y="36"/>
                            </a:cubicBezTo>
                            <a:cubicBezTo>
                              <a:pt x="33" y="36"/>
                              <a:pt x="33" y="38"/>
                              <a:pt x="33" y="39"/>
                            </a:cubicBezTo>
                            <a:cubicBezTo>
                              <a:pt x="33" y="57"/>
                              <a:pt x="33" y="57"/>
                              <a:pt x="33" y="57"/>
                            </a:cubicBezTo>
                            <a:lnTo>
                              <a:pt x="25" y="57"/>
                            </a:lnTo>
                            <a:close/>
                            <a:moveTo>
                              <a:pt x="68" y="0"/>
                            </a:moveTo>
                            <a:cubicBezTo>
                              <a:pt x="64" y="0"/>
                              <a:pt x="60" y="4"/>
                              <a:pt x="60" y="8"/>
                            </a:cubicBezTo>
                            <a:cubicBezTo>
                              <a:pt x="60" y="57"/>
                              <a:pt x="60" y="57"/>
                              <a:pt x="60" y="57"/>
                            </a:cubicBezTo>
                            <a:cubicBezTo>
                              <a:pt x="60" y="61"/>
                              <a:pt x="64" y="65"/>
                              <a:pt x="68" y="65"/>
                            </a:cubicBezTo>
                            <a:cubicBezTo>
                              <a:pt x="93" y="65"/>
                              <a:pt x="93" y="65"/>
                              <a:pt x="93" y="65"/>
                            </a:cubicBezTo>
                            <a:cubicBezTo>
                              <a:pt x="98" y="65"/>
                              <a:pt x="101" y="61"/>
                              <a:pt x="101" y="57"/>
                            </a:cubicBezTo>
                            <a:cubicBezTo>
                              <a:pt x="101" y="8"/>
                              <a:pt x="101" y="8"/>
                              <a:pt x="101" y="8"/>
                            </a:cubicBezTo>
                            <a:cubicBezTo>
                              <a:pt x="101" y="4"/>
                              <a:pt x="98" y="0"/>
                              <a:pt x="93" y="0"/>
                            </a:cubicBezTo>
                            <a:lnTo>
                              <a:pt x="68" y="0"/>
                            </a:lnTo>
                            <a:close/>
                            <a:moveTo>
                              <a:pt x="68" y="8"/>
                            </a:moveTo>
                            <a:cubicBezTo>
                              <a:pt x="93" y="8"/>
                              <a:pt x="93" y="8"/>
                              <a:pt x="93" y="8"/>
                            </a:cubicBezTo>
                            <a:cubicBezTo>
                              <a:pt x="93" y="57"/>
                              <a:pt x="93" y="57"/>
                              <a:pt x="93" y="57"/>
                            </a:cubicBezTo>
                            <a:cubicBezTo>
                              <a:pt x="68" y="57"/>
                              <a:pt x="68" y="57"/>
                              <a:pt x="68" y="57"/>
                            </a:cubicBezTo>
                            <a:lnTo>
                              <a:pt x="68" y="8"/>
                            </a:lnTo>
                            <a:close/>
                            <a:moveTo>
                              <a:pt x="145" y="57"/>
                            </a:moveTo>
                            <a:cubicBezTo>
                              <a:pt x="145" y="0"/>
                              <a:pt x="145" y="0"/>
                              <a:pt x="145" y="0"/>
                            </a:cubicBezTo>
                            <a:cubicBezTo>
                              <a:pt x="125" y="0"/>
                              <a:pt x="125" y="0"/>
                              <a:pt x="125" y="0"/>
                            </a:cubicBezTo>
                            <a:cubicBezTo>
                              <a:pt x="123" y="0"/>
                              <a:pt x="120" y="1"/>
                              <a:pt x="120" y="4"/>
                            </a:cubicBezTo>
                            <a:cubicBezTo>
                              <a:pt x="120" y="7"/>
                              <a:pt x="123" y="8"/>
                              <a:pt x="125" y="8"/>
                            </a:cubicBezTo>
                            <a:cubicBezTo>
                              <a:pt x="137" y="8"/>
                              <a:pt x="137" y="8"/>
                              <a:pt x="137" y="8"/>
                            </a:cubicBezTo>
                            <a:cubicBezTo>
                              <a:pt x="137" y="57"/>
                              <a:pt x="137" y="57"/>
                              <a:pt x="137" y="57"/>
                            </a:cubicBezTo>
                            <a:cubicBezTo>
                              <a:pt x="125" y="57"/>
                              <a:pt x="125" y="57"/>
                              <a:pt x="125" y="57"/>
                            </a:cubicBezTo>
                            <a:cubicBezTo>
                              <a:pt x="123" y="57"/>
                              <a:pt x="120" y="58"/>
                              <a:pt x="120" y="61"/>
                            </a:cubicBezTo>
                            <a:cubicBezTo>
                              <a:pt x="120" y="64"/>
                              <a:pt x="123" y="65"/>
                              <a:pt x="125" y="65"/>
                            </a:cubicBezTo>
                            <a:cubicBezTo>
                              <a:pt x="158" y="65"/>
                              <a:pt x="158" y="65"/>
                              <a:pt x="158" y="65"/>
                            </a:cubicBezTo>
                            <a:cubicBezTo>
                              <a:pt x="160" y="65"/>
                              <a:pt x="162" y="64"/>
                              <a:pt x="162" y="61"/>
                            </a:cubicBezTo>
                            <a:cubicBezTo>
                              <a:pt x="162" y="39"/>
                              <a:pt x="162" y="39"/>
                              <a:pt x="162" y="39"/>
                            </a:cubicBezTo>
                            <a:cubicBezTo>
                              <a:pt x="162" y="38"/>
                              <a:pt x="161" y="36"/>
                              <a:pt x="158" y="36"/>
                            </a:cubicBezTo>
                            <a:cubicBezTo>
                              <a:pt x="155" y="36"/>
                              <a:pt x="154" y="38"/>
                              <a:pt x="154" y="39"/>
                            </a:cubicBezTo>
                            <a:cubicBezTo>
                              <a:pt x="154" y="57"/>
                              <a:pt x="154" y="57"/>
                              <a:pt x="154" y="57"/>
                            </a:cubicBezTo>
                            <a:lnTo>
                              <a:pt x="145" y="57"/>
                            </a:lnTo>
                            <a:close/>
                            <a:moveTo>
                              <a:pt x="190" y="0"/>
                            </a:moveTo>
                            <a:cubicBezTo>
                              <a:pt x="184" y="0"/>
                              <a:pt x="181" y="4"/>
                              <a:pt x="181" y="8"/>
                            </a:cubicBezTo>
                            <a:cubicBezTo>
                              <a:pt x="181" y="57"/>
                              <a:pt x="181" y="57"/>
                              <a:pt x="181" y="57"/>
                            </a:cubicBezTo>
                            <a:cubicBezTo>
                              <a:pt x="181" y="61"/>
                              <a:pt x="184" y="65"/>
                              <a:pt x="190" y="65"/>
                            </a:cubicBezTo>
                            <a:cubicBezTo>
                              <a:pt x="214" y="65"/>
                              <a:pt x="214" y="65"/>
                              <a:pt x="214" y="65"/>
                            </a:cubicBezTo>
                            <a:cubicBezTo>
                              <a:pt x="219" y="65"/>
                              <a:pt x="223" y="61"/>
                              <a:pt x="223" y="57"/>
                            </a:cubicBezTo>
                            <a:cubicBezTo>
                              <a:pt x="223" y="8"/>
                              <a:pt x="223" y="8"/>
                              <a:pt x="223" y="8"/>
                            </a:cubicBezTo>
                            <a:cubicBezTo>
                              <a:pt x="223" y="4"/>
                              <a:pt x="219" y="0"/>
                              <a:pt x="214" y="0"/>
                            </a:cubicBezTo>
                            <a:lnTo>
                              <a:pt x="190" y="0"/>
                            </a:lnTo>
                            <a:close/>
                            <a:moveTo>
                              <a:pt x="190" y="8"/>
                            </a:moveTo>
                            <a:cubicBezTo>
                              <a:pt x="214" y="8"/>
                              <a:pt x="214" y="8"/>
                              <a:pt x="214" y="8"/>
                            </a:cubicBezTo>
                            <a:cubicBezTo>
                              <a:pt x="214" y="57"/>
                              <a:pt x="214" y="57"/>
                              <a:pt x="214" y="57"/>
                            </a:cubicBezTo>
                            <a:cubicBezTo>
                              <a:pt x="190" y="57"/>
                              <a:pt x="190" y="57"/>
                              <a:pt x="190" y="57"/>
                            </a:cubicBezTo>
                            <a:lnTo>
                              <a:pt x="190" y="8"/>
                            </a:lnTo>
                            <a:close/>
                            <a:moveTo>
                              <a:pt x="267" y="57"/>
                            </a:moveTo>
                            <a:cubicBezTo>
                              <a:pt x="267" y="0"/>
                              <a:pt x="267" y="0"/>
                              <a:pt x="267" y="0"/>
                            </a:cubicBezTo>
                            <a:cubicBezTo>
                              <a:pt x="246" y="0"/>
                              <a:pt x="246" y="0"/>
                              <a:pt x="246" y="0"/>
                            </a:cubicBezTo>
                            <a:cubicBezTo>
                              <a:pt x="244" y="0"/>
                              <a:pt x="242" y="1"/>
                              <a:pt x="242" y="4"/>
                            </a:cubicBezTo>
                            <a:cubicBezTo>
                              <a:pt x="242" y="7"/>
                              <a:pt x="244" y="8"/>
                              <a:pt x="246" y="8"/>
                            </a:cubicBezTo>
                            <a:cubicBezTo>
                              <a:pt x="258" y="8"/>
                              <a:pt x="258" y="8"/>
                              <a:pt x="258" y="8"/>
                            </a:cubicBezTo>
                            <a:cubicBezTo>
                              <a:pt x="258" y="57"/>
                              <a:pt x="258" y="57"/>
                              <a:pt x="258" y="57"/>
                            </a:cubicBezTo>
                            <a:cubicBezTo>
                              <a:pt x="246" y="57"/>
                              <a:pt x="246" y="57"/>
                              <a:pt x="246" y="57"/>
                            </a:cubicBezTo>
                            <a:cubicBezTo>
                              <a:pt x="244" y="57"/>
                              <a:pt x="242" y="58"/>
                              <a:pt x="242" y="61"/>
                            </a:cubicBezTo>
                            <a:cubicBezTo>
                              <a:pt x="242" y="64"/>
                              <a:pt x="244" y="65"/>
                              <a:pt x="246" y="65"/>
                            </a:cubicBezTo>
                            <a:cubicBezTo>
                              <a:pt x="279" y="65"/>
                              <a:pt x="279" y="65"/>
                              <a:pt x="279" y="65"/>
                            </a:cubicBezTo>
                            <a:cubicBezTo>
                              <a:pt x="281" y="65"/>
                              <a:pt x="283" y="64"/>
                              <a:pt x="283" y="61"/>
                            </a:cubicBezTo>
                            <a:cubicBezTo>
                              <a:pt x="283" y="39"/>
                              <a:pt x="283" y="39"/>
                              <a:pt x="283" y="39"/>
                            </a:cubicBezTo>
                            <a:cubicBezTo>
                              <a:pt x="283" y="38"/>
                              <a:pt x="283" y="36"/>
                              <a:pt x="279" y="36"/>
                            </a:cubicBezTo>
                            <a:cubicBezTo>
                              <a:pt x="276" y="36"/>
                              <a:pt x="275" y="38"/>
                              <a:pt x="275" y="39"/>
                            </a:cubicBezTo>
                            <a:cubicBezTo>
                              <a:pt x="275" y="57"/>
                              <a:pt x="275" y="57"/>
                              <a:pt x="275" y="57"/>
                            </a:cubicBezTo>
                            <a:lnTo>
                              <a:pt x="267" y="57"/>
                            </a:lnTo>
                            <a:close/>
                            <a:moveTo>
                              <a:pt x="310" y="0"/>
                            </a:moveTo>
                            <a:cubicBezTo>
                              <a:pt x="306" y="0"/>
                              <a:pt x="303" y="4"/>
                              <a:pt x="303" y="8"/>
                            </a:cubicBezTo>
                            <a:cubicBezTo>
                              <a:pt x="303" y="57"/>
                              <a:pt x="303" y="57"/>
                              <a:pt x="303" y="57"/>
                            </a:cubicBezTo>
                            <a:cubicBezTo>
                              <a:pt x="303" y="61"/>
                              <a:pt x="306" y="65"/>
                              <a:pt x="310" y="65"/>
                            </a:cubicBezTo>
                            <a:cubicBezTo>
                              <a:pt x="336" y="65"/>
                              <a:pt x="336" y="65"/>
                              <a:pt x="336" y="65"/>
                            </a:cubicBezTo>
                            <a:cubicBezTo>
                              <a:pt x="340" y="65"/>
                              <a:pt x="344" y="61"/>
                              <a:pt x="344" y="57"/>
                            </a:cubicBezTo>
                            <a:cubicBezTo>
                              <a:pt x="344" y="8"/>
                              <a:pt x="344" y="8"/>
                              <a:pt x="344" y="8"/>
                            </a:cubicBezTo>
                            <a:cubicBezTo>
                              <a:pt x="344" y="4"/>
                              <a:pt x="340" y="0"/>
                              <a:pt x="336" y="0"/>
                            </a:cubicBezTo>
                            <a:lnTo>
                              <a:pt x="310" y="0"/>
                            </a:lnTo>
                            <a:close/>
                            <a:moveTo>
                              <a:pt x="310" y="8"/>
                            </a:moveTo>
                            <a:cubicBezTo>
                              <a:pt x="336" y="8"/>
                              <a:pt x="336" y="8"/>
                              <a:pt x="336" y="8"/>
                            </a:cubicBezTo>
                            <a:cubicBezTo>
                              <a:pt x="336" y="57"/>
                              <a:pt x="336" y="57"/>
                              <a:pt x="336" y="57"/>
                            </a:cubicBezTo>
                            <a:cubicBezTo>
                              <a:pt x="310" y="57"/>
                              <a:pt x="310" y="57"/>
                              <a:pt x="310" y="57"/>
                            </a:cubicBezTo>
                            <a:lnTo>
                              <a:pt x="310" y="8"/>
                            </a:lnTo>
                            <a:close/>
                            <a:moveTo>
                              <a:pt x="388" y="57"/>
                            </a:moveTo>
                            <a:cubicBezTo>
                              <a:pt x="388" y="0"/>
                              <a:pt x="388" y="0"/>
                              <a:pt x="388" y="0"/>
                            </a:cubicBezTo>
                            <a:cubicBezTo>
                              <a:pt x="367" y="0"/>
                              <a:pt x="367" y="0"/>
                              <a:pt x="367" y="0"/>
                            </a:cubicBezTo>
                            <a:cubicBezTo>
                              <a:pt x="365" y="0"/>
                              <a:pt x="363" y="1"/>
                              <a:pt x="363" y="4"/>
                            </a:cubicBezTo>
                            <a:cubicBezTo>
                              <a:pt x="363" y="7"/>
                              <a:pt x="365" y="8"/>
                              <a:pt x="367" y="8"/>
                            </a:cubicBezTo>
                            <a:cubicBezTo>
                              <a:pt x="380" y="8"/>
                              <a:pt x="380" y="8"/>
                              <a:pt x="380" y="8"/>
                            </a:cubicBezTo>
                            <a:cubicBezTo>
                              <a:pt x="380" y="57"/>
                              <a:pt x="380" y="57"/>
                              <a:pt x="380" y="57"/>
                            </a:cubicBezTo>
                            <a:cubicBezTo>
                              <a:pt x="367" y="57"/>
                              <a:pt x="367" y="57"/>
                              <a:pt x="367" y="57"/>
                            </a:cubicBezTo>
                            <a:cubicBezTo>
                              <a:pt x="365" y="57"/>
                              <a:pt x="363" y="58"/>
                              <a:pt x="363" y="61"/>
                            </a:cubicBezTo>
                            <a:cubicBezTo>
                              <a:pt x="363" y="64"/>
                              <a:pt x="365" y="65"/>
                              <a:pt x="367" y="65"/>
                            </a:cubicBezTo>
                            <a:cubicBezTo>
                              <a:pt x="401" y="65"/>
                              <a:pt x="401" y="65"/>
                              <a:pt x="401" y="65"/>
                            </a:cubicBezTo>
                            <a:cubicBezTo>
                              <a:pt x="402" y="65"/>
                              <a:pt x="404" y="64"/>
                              <a:pt x="404" y="61"/>
                            </a:cubicBezTo>
                            <a:cubicBezTo>
                              <a:pt x="404" y="39"/>
                              <a:pt x="404" y="39"/>
                              <a:pt x="404" y="39"/>
                            </a:cubicBezTo>
                            <a:cubicBezTo>
                              <a:pt x="404" y="38"/>
                              <a:pt x="403" y="36"/>
                              <a:pt x="401" y="36"/>
                            </a:cubicBezTo>
                            <a:cubicBezTo>
                              <a:pt x="397" y="36"/>
                              <a:pt x="396" y="38"/>
                              <a:pt x="396" y="39"/>
                            </a:cubicBezTo>
                            <a:cubicBezTo>
                              <a:pt x="396" y="57"/>
                              <a:pt x="396" y="57"/>
                              <a:pt x="396" y="57"/>
                            </a:cubicBezTo>
                            <a:lnTo>
                              <a:pt x="388" y="57"/>
                            </a:lnTo>
                            <a:close/>
                            <a:moveTo>
                              <a:pt x="432" y="0"/>
                            </a:moveTo>
                            <a:cubicBezTo>
                              <a:pt x="428" y="0"/>
                              <a:pt x="423" y="4"/>
                              <a:pt x="423" y="8"/>
                            </a:cubicBezTo>
                            <a:cubicBezTo>
                              <a:pt x="423" y="57"/>
                              <a:pt x="423" y="57"/>
                              <a:pt x="423" y="57"/>
                            </a:cubicBezTo>
                            <a:cubicBezTo>
                              <a:pt x="423" y="61"/>
                              <a:pt x="427" y="65"/>
                              <a:pt x="432" y="65"/>
                            </a:cubicBezTo>
                            <a:cubicBezTo>
                              <a:pt x="457" y="65"/>
                              <a:pt x="457" y="65"/>
                              <a:pt x="457" y="65"/>
                            </a:cubicBezTo>
                            <a:cubicBezTo>
                              <a:pt x="461" y="65"/>
                              <a:pt x="465" y="61"/>
                              <a:pt x="465" y="57"/>
                            </a:cubicBezTo>
                            <a:cubicBezTo>
                              <a:pt x="465" y="8"/>
                              <a:pt x="465" y="8"/>
                              <a:pt x="465" y="8"/>
                            </a:cubicBezTo>
                            <a:cubicBezTo>
                              <a:pt x="465" y="4"/>
                              <a:pt x="461" y="0"/>
                              <a:pt x="457" y="0"/>
                            </a:cubicBezTo>
                            <a:lnTo>
                              <a:pt x="432" y="0"/>
                            </a:lnTo>
                            <a:close/>
                            <a:moveTo>
                              <a:pt x="432" y="8"/>
                            </a:moveTo>
                            <a:cubicBezTo>
                              <a:pt x="457" y="8"/>
                              <a:pt x="457" y="8"/>
                              <a:pt x="457" y="8"/>
                            </a:cubicBezTo>
                            <a:cubicBezTo>
                              <a:pt x="457" y="57"/>
                              <a:pt x="457" y="57"/>
                              <a:pt x="457" y="57"/>
                            </a:cubicBezTo>
                            <a:cubicBezTo>
                              <a:pt x="432" y="57"/>
                              <a:pt x="432" y="57"/>
                              <a:pt x="432" y="57"/>
                            </a:cubicBezTo>
                            <a:lnTo>
                              <a:pt x="432" y="8"/>
                            </a:lnTo>
                            <a:close/>
                            <a:moveTo>
                              <a:pt x="493" y="0"/>
                            </a:moveTo>
                            <a:cubicBezTo>
                              <a:pt x="488" y="0"/>
                              <a:pt x="484" y="4"/>
                              <a:pt x="484" y="8"/>
                            </a:cubicBezTo>
                            <a:cubicBezTo>
                              <a:pt x="484" y="57"/>
                              <a:pt x="484" y="57"/>
                              <a:pt x="484" y="57"/>
                            </a:cubicBezTo>
                            <a:cubicBezTo>
                              <a:pt x="484" y="61"/>
                              <a:pt x="488" y="65"/>
                              <a:pt x="493" y="65"/>
                            </a:cubicBezTo>
                            <a:cubicBezTo>
                              <a:pt x="517" y="65"/>
                              <a:pt x="517" y="65"/>
                              <a:pt x="517" y="65"/>
                            </a:cubicBezTo>
                            <a:cubicBezTo>
                              <a:pt x="522" y="65"/>
                              <a:pt x="526" y="61"/>
                              <a:pt x="526" y="57"/>
                            </a:cubicBezTo>
                            <a:cubicBezTo>
                              <a:pt x="526" y="8"/>
                              <a:pt x="526" y="8"/>
                              <a:pt x="526" y="8"/>
                            </a:cubicBezTo>
                            <a:cubicBezTo>
                              <a:pt x="526" y="4"/>
                              <a:pt x="522" y="0"/>
                              <a:pt x="517" y="0"/>
                            </a:cubicBezTo>
                            <a:lnTo>
                              <a:pt x="493" y="0"/>
                            </a:lnTo>
                            <a:close/>
                            <a:moveTo>
                              <a:pt x="493" y="8"/>
                            </a:moveTo>
                            <a:cubicBezTo>
                              <a:pt x="517" y="8"/>
                              <a:pt x="517" y="8"/>
                              <a:pt x="517" y="8"/>
                            </a:cubicBezTo>
                            <a:cubicBezTo>
                              <a:pt x="517" y="57"/>
                              <a:pt x="517" y="57"/>
                              <a:pt x="517" y="57"/>
                            </a:cubicBezTo>
                            <a:cubicBezTo>
                              <a:pt x="493" y="57"/>
                              <a:pt x="493" y="57"/>
                              <a:pt x="493" y="57"/>
                            </a:cubicBezTo>
                            <a:lnTo>
                              <a:pt x="493" y="8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alpha val="33000"/>
                        </a:schemeClr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73441" tIns="36722" rIns="73441" bIns="36722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749131">
                          <a:defRPr/>
                        </a:pPr>
                        <a:endParaRPr lang="en-US" sz="2249" kern="0">
                          <a:solidFill>
                            <a:srgbClr val="353535"/>
                          </a:solidFill>
                          <a:latin typeface="Segoe UI Semibold" panose="020B0702040204020203" pitchFamily="34" charset="0"/>
                        </a:endParaRPr>
                      </a:p>
                    </p:txBody>
                  </p:sp>
                </p:grpSp>
              </p:grpSp>
            </p:grpSp>
          </p:grpSp>
        </p:grp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0735A7B5-0411-4474-84C0-F7BD521AD702}"/>
                </a:ext>
              </a:extLst>
            </p:cNvPr>
            <p:cNvSpPr/>
            <p:nvPr/>
          </p:nvSpPr>
          <p:spPr>
            <a:xfrm>
              <a:off x="6448489" y="2916722"/>
              <a:ext cx="3494088" cy="1157773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noAutofit/>
            </a:bodyPr>
            <a:lstStyle/>
            <a:p>
              <a:pPr algn="ctr" defTabSz="914355">
                <a:defRPr/>
              </a:pPr>
              <a:r>
                <a:rPr lang="en-US" sz="2249">
                  <a:solidFill>
                    <a:srgbClr val="0D0D0D">
                      <a:lumMod val="10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DK</a:t>
              </a:r>
            </a:p>
          </p:txBody>
        </p: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B2579F7-4CEA-4C5E-A95A-B73B227BF174}"/>
              </a:ext>
            </a:extLst>
          </p:cNvPr>
          <p:cNvSpPr/>
          <p:nvPr/>
        </p:nvSpPr>
        <p:spPr bwMode="auto">
          <a:xfrm flipV="1">
            <a:off x="7636103" y="3161425"/>
            <a:ext cx="2183525" cy="546878"/>
          </a:xfrm>
          <a:custGeom>
            <a:avLst/>
            <a:gdLst>
              <a:gd name="connsiteX0" fmla="*/ 0 w 1867301"/>
              <a:gd name="connsiteY0" fmla="*/ 0 h 567891"/>
              <a:gd name="connsiteX1" fmla="*/ 1299410 w 1867301"/>
              <a:gd name="connsiteY1" fmla="*/ 0 h 567891"/>
              <a:gd name="connsiteX2" fmla="*/ 1867301 w 1867301"/>
              <a:gd name="connsiteY2" fmla="*/ 567891 h 567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67301" h="567891">
                <a:moveTo>
                  <a:pt x="0" y="0"/>
                </a:moveTo>
                <a:lnTo>
                  <a:pt x="1299410" y="0"/>
                </a:lnTo>
                <a:lnTo>
                  <a:pt x="1867301" y="567891"/>
                </a:lnTo>
              </a:path>
            </a:pathLst>
          </a:custGeom>
          <a:noFill/>
          <a:ln w="381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defRPr/>
            </a:pPr>
            <a:endParaRPr lang="en-US" sz="1682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7E53B5BF-7B86-49D2-A4D1-7458BD50F0CC}"/>
              </a:ext>
            </a:extLst>
          </p:cNvPr>
          <p:cNvSpPr/>
          <p:nvPr/>
        </p:nvSpPr>
        <p:spPr bwMode="auto">
          <a:xfrm>
            <a:off x="4948948" y="839368"/>
            <a:ext cx="1504446" cy="797953"/>
          </a:xfrm>
          <a:custGeom>
            <a:avLst/>
            <a:gdLst>
              <a:gd name="connsiteX0" fmla="*/ 0 w 1366788"/>
              <a:gd name="connsiteY0" fmla="*/ 750770 h 750770"/>
              <a:gd name="connsiteX1" fmla="*/ 0 w 1366788"/>
              <a:gd name="connsiteY1" fmla="*/ 0 h 750770"/>
              <a:gd name="connsiteX2" fmla="*/ 1366788 w 1366788"/>
              <a:gd name="connsiteY2" fmla="*/ 0 h 75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66788" h="750770">
                <a:moveTo>
                  <a:pt x="0" y="750770"/>
                </a:moveTo>
                <a:lnTo>
                  <a:pt x="0" y="0"/>
                </a:lnTo>
                <a:lnTo>
                  <a:pt x="1366788" y="0"/>
                </a:lnTo>
              </a:path>
            </a:pathLst>
          </a:custGeom>
          <a:noFill/>
          <a:ln w="381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5">
              <a:defRPr/>
            </a:pPr>
            <a:endParaRPr lang="en-US" sz="1682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04FD0E7-A968-4FEB-AADC-11450F7FAA30}"/>
              </a:ext>
            </a:extLst>
          </p:cNvPr>
          <p:cNvSpPr/>
          <p:nvPr/>
        </p:nvSpPr>
        <p:spPr>
          <a:xfrm>
            <a:off x="1165741" y="5563359"/>
            <a:ext cx="2261227" cy="690351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defTabSz="748914" fontAlgn="base">
              <a:spcBef>
                <a:spcPts val="1446"/>
              </a:spcBef>
              <a:spcAft>
                <a:spcPct val="0"/>
              </a:spcAft>
              <a:defRPr/>
            </a:pPr>
            <a:r>
              <a:rPr lang="en-US" sz="1765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REST endpoint</a:t>
            </a:r>
          </a:p>
          <a:p>
            <a:pPr algn="ctr" defTabSz="748914" fontAlgn="base">
              <a:spcBef>
                <a:spcPts val="241"/>
              </a:spcBef>
              <a:spcAft>
                <a:spcPct val="0"/>
              </a:spcAft>
              <a:defRPr/>
            </a:pPr>
            <a:r>
              <a:rPr lang="en-US" sz="1568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  <a:hlinkClick r:id="rId3"/>
              </a:rPr>
              <a:t>Direct Line Protocol</a:t>
            </a:r>
            <a:endParaRPr lang="en-US" sz="1568">
              <a:gradFill>
                <a:gsLst>
                  <a:gs pos="1250">
                    <a:srgbClr val="1A1A1A"/>
                  </a:gs>
                  <a:gs pos="100000">
                    <a:srgbClr val="1A1A1A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8DC93883-0C12-4D23-8506-A1E1419CB654}"/>
              </a:ext>
            </a:extLst>
          </p:cNvPr>
          <p:cNvSpPr/>
          <p:nvPr/>
        </p:nvSpPr>
        <p:spPr>
          <a:xfrm>
            <a:off x="4293546" y="5553146"/>
            <a:ext cx="2083166" cy="690351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defTabSz="748914" fontAlgn="base">
              <a:spcBef>
                <a:spcPts val="1446"/>
              </a:spcBef>
              <a:spcAft>
                <a:spcPct val="0"/>
              </a:spcAft>
              <a:defRPr/>
            </a:pPr>
            <a:r>
              <a:rPr lang="en-US" sz="1765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Conversational and business logic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AE6C37D-E2B3-4C70-8B98-B168340F0CAC}"/>
              </a:ext>
            </a:extLst>
          </p:cNvPr>
          <p:cNvSpPr/>
          <p:nvPr/>
        </p:nvSpPr>
        <p:spPr>
          <a:xfrm>
            <a:off x="6841926" y="5553147"/>
            <a:ext cx="1607984" cy="690351"/>
          </a:xfrm>
          <a:prstGeom prst="rect">
            <a:avLst/>
          </a:prstGeom>
        </p:spPr>
        <p:txBody>
          <a:bodyPr wrap="square" anchor="t">
            <a:noAutofit/>
          </a:bodyPr>
          <a:lstStyle/>
          <a:p>
            <a:pPr algn="ctr" defTabSz="748914" fontAlgn="base">
              <a:spcBef>
                <a:spcPts val="1446"/>
              </a:spcBef>
              <a:spcAft>
                <a:spcPct val="0"/>
              </a:spcAft>
              <a:defRPr/>
            </a:pPr>
            <a:r>
              <a:rPr lang="en-US" sz="1765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Canvas awar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6AA8912-8BDF-4F1B-9E5C-4E9828DCEEE2}"/>
              </a:ext>
            </a:extLst>
          </p:cNvPr>
          <p:cNvSpPr/>
          <p:nvPr/>
        </p:nvSpPr>
        <p:spPr>
          <a:xfrm>
            <a:off x="8915128" y="5553147"/>
            <a:ext cx="1709772" cy="690351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defTabSz="748914" fontAlgn="base">
              <a:spcBef>
                <a:spcPts val="1446"/>
              </a:spcBef>
              <a:spcAft>
                <a:spcPct val="0"/>
              </a:spcAft>
              <a:defRPr/>
            </a:pPr>
            <a:r>
              <a:rPr lang="en-US" sz="1765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Context</a:t>
            </a:r>
            <a:br>
              <a:rPr lang="en-US" sz="1765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</a:br>
            <a:r>
              <a:rPr lang="en-US" sz="1765"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sensitiv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DDA15C0-E502-40CE-8DC2-2060D6D79AE7}"/>
              </a:ext>
            </a:extLst>
          </p:cNvPr>
          <p:cNvCxnSpPr/>
          <p:nvPr/>
        </p:nvCxnSpPr>
        <p:spPr>
          <a:xfrm>
            <a:off x="4060938" y="5651873"/>
            <a:ext cx="0" cy="537847"/>
          </a:xfrm>
          <a:prstGeom prst="line">
            <a:avLst/>
          </a:prstGeom>
          <a:ln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A388E534-80CC-4D3F-9CAB-CC18BF429FDA}"/>
              </a:ext>
            </a:extLst>
          </p:cNvPr>
          <p:cNvCxnSpPr/>
          <p:nvPr/>
        </p:nvCxnSpPr>
        <p:spPr>
          <a:xfrm>
            <a:off x="6609319" y="5651873"/>
            <a:ext cx="0" cy="537847"/>
          </a:xfrm>
          <a:prstGeom prst="line">
            <a:avLst/>
          </a:prstGeom>
          <a:ln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682A2ED2-308C-4275-837D-1D9B0885C5E9}"/>
              </a:ext>
            </a:extLst>
          </p:cNvPr>
          <p:cNvCxnSpPr/>
          <p:nvPr/>
        </p:nvCxnSpPr>
        <p:spPr>
          <a:xfrm>
            <a:off x="8682518" y="5651873"/>
            <a:ext cx="0" cy="537847"/>
          </a:xfrm>
          <a:prstGeom prst="line">
            <a:avLst/>
          </a:prstGeom>
          <a:ln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37D10252-5403-4304-B658-EE8BEC8310B2}"/>
              </a:ext>
            </a:extLst>
          </p:cNvPr>
          <p:cNvGrpSpPr/>
          <p:nvPr/>
        </p:nvGrpSpPr>
        <p:grpSpPr>
          <a:xfrm>
            <a:off x="6252165" y="174367"/>
            <a:ext cx="2275011" cy="1300300"/>
            <a:chOff x="8230756" y="412084"/>
            <a:chExt cx="2832550" cy="1618966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8E3E0330-A24A-4A67-8A2A-B8230A8906EE}"/>
                </a:ext>
              </a:extLst>
            </p:cNvPr>
            <p:cNvSpPr/>
            <p:nvPr/>
          </p:nvSpPr>
          <p:spPr bwMode="auto">
            <a:xfrm>
              <a:off x="8411555" y="591468"/>
              <a:ext cx="1257364" cy="1260198"/>
            </a:xfrm>
            <a:prstGeom prst="ellipse">
              <a:avLst/>
            </a:prstGeom>
            <a:solidFill>
              <a:schemeClr val="accent3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6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Platform</a:t>
              </a: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38CF5552-364D-4B5E-85E6-E8BE23586CF2}"/>
                </a:ext>
              </a:extLst>
            </p:cNvPr>
            <p:cNvSpPr/>
            <p:nvPr/>
          </p:nvSpPr>
          <p:spPr>
            <a:xfrm>
              <a:off x="9891820" y="706375"/>
              <a:ext cx="1171486" cy="7157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5">
                <a:defRPr/>
              </a:pPr>
              <a:r>
                <a:rPr lang="en-US" sz="1568"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latin typeface="Segoe UI"/>
                </a:rPr>
                <a:t>Platform</a:t>
              </a:r>
            </a:p>
            <a:p>
              <a:pPr defTabSz="914355">
                <a:defRPr/>
              </a:pPr>
              <a:r>
                <a:rPr lang="en-US" sz="1568"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latin typeface="Segoe UI"/>
                </a:rPr>
                <a:t>Services</a:t>
              </a:r>
            </a:p>
          </p:txBody>
        </p:sp>
        <p:sp>
          <p:nvSpPr>
            <p:cNvPr id="163" name="Circle: Hollow 162">
              <a:extLst>
                <a:ext uri="{FF2B5EF4-FFF2-40B4-BE49-F238E27FC236}">
                  <a16:creationId xmlns:a16="http://schemas.microsoft.com/office/drawing/2014/main" id="{073BDFE5-88EE-4543-9407-DD0C479E3E7B}"/>
                </a:ext>
              </a:extLst>
            </p:cNvPr>
            <p:cNvSpPr/>
            <p:nvPr/>
          </p:nvSpPr>
          <p:spPr bwMode="auto">
            <a:xfrm>
              <a:off x="8230756" y="412084"/>
              <a:ext cx="1618962" cy="1618966"/>
            </a:xfrm>
            <a:prstGeom prst="donut">
              <a:avLst>
                <a:gd name="adj" fmla="val 1118"/>
              </a:avLst>
            </a:prstGeom>
            <a:solidFill>
              <a:schemeClr val="accent5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cs typeface="Segoe UI" pitchFamily="34" charset="0"/>
              </a:endParaRPr>
            </a:p>
          </p:txBody>
        </p:sp>
      </p:grp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67129EEF-C248-4152-B528-46EB33D587B2}"/>
              </a:ext>
            </a:extLst>
          </p:cNvPr>
          <p:cNvSpPr/>
          <p:nvPr/>
        </p:nvSpPr>
        <p:spPr bwMode="auto">
          <a:xfrm>
            <a:off x="5954999" y="2990503"/>
            <a:ext cx="886926" cy="411508"/>
          </a:xfrm>
          <a:custGeom>
            <a:avLst/>
            <a:gdLst>
              <a:gd name="connsiteX0" fmla="*/ 0 w 1867301"/>
              <a:gd name="connsiteY0" fmla="*/ 0 h 567891"/>
              <a:gd name="connsiteX1" fmla="*/ 1299410 w 1867301"/>
              <a:gd name="connsiteY1" fmla="*/ 0 h 567891"/>
              <a:gd name="connsiteX2" fmla="*/ 1867301 w 1867301"/>
              <a:gd name="connsiteY2" fmla="*/ 567891 h 567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67301" h="567891">
                <a:moveTo>
                  <a:pt x="0" y="0"/>
                </a:moveTo>
                <a:lnTo>
                  <a:pt x="1299410" y="0"/>
                </a:lnTo>
                <a:lnTo>
                  <a:pt x="1867301" y="567891"/>
                </a:lnTo>
              </a:path>
            </a:pathLst>
          </a:custGeom>
          <a:noFill/>
          <a:ln w="381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defRPr/>
            </a:pPr>
            <a:endParaRPr lang="en-US" sz="1682">
              <a:solidFill>
                <a:srgbClr val="FFFFFF"/>
              </a:solidFill>
              <a:latin typeface="Segoe UI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17C761D-D8B2-454C-9CD0-7D29CC5B17C5}"/>
              </a:ext>
            </a:extLst>
          </p:cNvPr>
          <p:cNvGrpSpPr/>
          <p:nvPr/>
        </p:nvGrpSpPr>
        <p:grpSpPr>
          <a:xfrm>
            <a:off x="890326" y="1757843"/>
            <a:ext cx="1315903" cy="1595183"/>
            <a:chOff x="8984518" y="2407700"/>
            <a:chExt cx="1638394" cy="1986116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13828428-3D7C-4992-81AC-72251EB0F795}"/>
                </a:ext>
              </a:extLst>
            </p:cNvPr>
            <p:cNvSpPr/>
            <p:nvPr/>
          </p:nvSpPr>
          <p:spPr bwMode="auto">
            <a:xfrm>
              <a:off x="9165317" y="2587084"/>
              <a:ext cx="1257364" cy="126019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6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cs typeface="Segoe UI" pitchFamily="34" charset="0"/>
                </a:rPr>
                <a:t>HTTP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9C646E0-9F3C-45ED-BC2D-3D4BF01E8A12}"/>
                </a:ext>
              </a:extLst>
            </p:cNvPr>
            <p:cNvSpPr/>
            <p:nvPr/>
          </p:nvSpPr>
          <p:spPr>
            <a:xfrm>
              <a:off x="9035809" y="4032647"/>
              <a:ext cx="1587103" cy="3611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defTabSz="914355">
                <a:defRPr/>
              </a:pPr>
              <a:r>
                <a:rPr lang="en-US" sz="1285">
                  <a:solidFill>
                    <a:srgbClr val="FFFFFF"/>
                  </a:solidFill>
                  <a:latin typeface="Segoe UI Semibold" panose="020B0702040204020203" pitchFamily="34" charset="0"/>
                </a:rPr>
                <a:t>REST Endpoint</a:t>
              </a:r>
            </a:p>
          </p:txBody>
        </p:sp>
        <p:sp>
          <p:nvSpPr>
            <p:cNvPr id="64" name="Circle: Hollow 63">
              <a:extLst>
                <a:ext uri="{FF2B5EF4-FFF2-40B4-BE49-F238E27FC236}">
                  <a16:creationId xmlns:a16="http://schemas.microsoft.com/office/drawing/2014/main" id="{8254CF4C-0C2A-4892-9B6D-C20A5929516F}"/>
                </a:ext>
              </a:extLst>
            </p:cNvPr>
            <p:cNvSpPr/>
            <p:nvPr/>
          </p:nvSpPr>
          <p:spPr bwMode="auto">
            <a:xfrm>
              <a:off x="8984518" y="2407700"/>
              <a:ext cx="1618962" cy="1618966"/>
            </a:xfrm>
            <a:prstGeom prst="donut">
              <a:avLst>
                <a:gd name="adj" fmla="val 1118"/>
              </a:avLst>
            </a:prstGeom>
            <a:solidFill>
              <a:schemeClr val="accent5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27993AFC-8176-4B79-8C3F-AC47F7A82A8B}"/>
              </a:ext>
            </a:extLst>
          </p:cNvPr>
          <p:cNvSpPr/>
          <p:nvPr/>
        </p:nvSpPr>
        <p:spPr bwMode="auto">
          <a:xfrm rot="10800000">
            <a:off x="2159230" y="2569003"/>
            <a:ext cx="903273" cy="137713"/>
          </a:xfrm>
          <a:custGeom>
            <a:avLst/>
            <a:gdLst>
              <a:gd name="connsiteX0" fmla="*/ 0 w 1867301"/>
              <a:gd name="connsiteY0" fmla="*/ 0 h 567891"/>
              <a:gd name="connsiteX1" fmla="*/ 1299410 w 1867301"/>
              <a:gd name="connsiteY1" fmla="*/ 0 h 567891"/>
              <a:gd name="connsiteX2" fmla="*/ 1867301 w 1867301"/>
              <a:gd name="connsiteY2" fmla="*/ 567891 h 567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67301" h="567891">
                <a:moveTo>
                  <a:pt x="0" y="0"/>
                </a:moveTo>
                <a:lnTo>
                  <a:pt x="1299410" y="0"/>
                </a:lnTo>
                <a:lnTo>
                  <a:pt x="1867301" y="567891"/>
                </a:lnTo>
              </a:path>
            </a:pathLst>
          </a:custGeom>
          <a:noFill/>
          <a:ln w="381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defRPr/>
            </a:pPr>
            <a:endParaRPr lang="en-US" sz="1682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1026" name="Picture 2" descr="Image result for Swagger api">
            <a:hlinkClick r:id="rId4"/>
            <a:extLst>
              <a:ext uri="{FF2B5EF4-FFF2-40B4-BE49-F238E27FC236}">
                <a16:creationId xmlns:a16="http://schemas.microsoft.com/office/drawing/2014/main" id="{8F26222C-F702-47DA-8B35-89504C3020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1304" y="5732589"/>
            <a:ext cx="377892" cy="377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5" name="Group 74">
            <a:extLst>
              <a:ext uri="{FF2B5EF4-FFF2-40B4-BE49-F238E27FC236}">
                <a16:creationId xmlns:a16="http://schemas.microsoft.com/office/drawing/2014/main" id="{5CC05C78-FC09-4E36-867D-330D0DD0063A}"/>
              </a:ext>
            </a:extLst>
          </p:cNvPr>
          <p:cNvGrpSpPr/>
          <p:nvPr/>
        </p:nvGrpSpPr>
        <p:grpSpPr>
          <a:xfrm>
            <a:off x="7010490" y="5927692"/>
            <a:ext cx="334288" cy="334288"/>
            <a:chOff x="5156251" y="4065890"/>
            <a:chExt cx="416212" cy="416212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2F682105-B14F-466B-A7B6-3A091B98C0BC}"/>
                </a:ext>
              </a:extLst>
            </p:cNvPr>
            <p:cNvSpPr/>
            <p:nvPr/>
          </p:nvSpPr>
          <p:spPr bwMode="auto">
            <a:xfrm>
              <a:off x="5156251" y="4065890"/>
              <a:ext cx="416212" cy="416212"/>
            </a:xfrm>
            <a:prstGeom prst="ellipse">
              <a:avLst/>
            </a:prstGeom>
            <a:solidFill>
              <a:schemeClr val="accent6"/>
            </a:solidFill>
            <a:ln w="9525" cap="flat">
              <a:noFill/>
              <a:prstDash val="sysDash"/>
              <a:miter lim="800000"/>
              <a:headEnd type="none" w="lg" len="med"/>
              <a:tailEnd type="none" w="lg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9131">
                <a:defRPr/>
              </a:pPr>
              <a:endParaRPr lang="en-US" sz="1682">
                <a:solidFill>
                  <a:srgbClr val="FFFFFF"/>
                </a:solidFill>
                <a:latin typeface="Segoe UI"/>
              </a:endParaRP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9E27C81B-DC3C-4236-AFD8-8C279E170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52645" y="4160587"/>
              <a:ext cx="223424" cy="226819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6F63D19-9C42-4677-8DD2-9CABDC6C008F}"/>
              </a:ext>
            </a:extLst>
          </p:cNvPr>
          <p:cNvGrpSpPr/>
          <p:nvPr/>
        </p:nvGrpSpPr>
        <p:grpSpPr>
          <a:xfrm>
            <a:off x="8058940" y="5927692"/>
            <a:ext cx="334288" cy="334288"/>
            <a:chOff x="8230756" y="6036032"/>
            <a:chExt cx="416212" cy="416212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372A2DC9-44A8-4517-95C5-1592A6509244}"/>
                </a:ext>
              </a:extLst>
            </p:cNvPr>
            <p:cNvSpPr/>
            <p:nvPr/>
          </p:nvSpPr>
          <p:spPr bwMode="auto">
            <a:xfrm>
              <a:off x="8230756" y="6036032"/>
              <a:ext cx="416212" cy="416212"/>
            </a:xfrm>
            <a:prstGeom prst="ellipse">
              <a:avLst/>
            </a:prstGeom>
            <a:solidFill>
              <a:schemeClr val="accent6"/>
            </a:solidFill>
            <a:ln w="9525" cap="flat">
              <a:noFill/>
              <a:prstDash val="sysDash"/>
              <a:miter lim="800000"/>
              <a:headEnd type="none" w="lg" len="med"/>
              <a:tailEnd type="none" w="lg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9131">
                <a:defRPr/>
              </a:pPr>
              <a:endParaRPr lang="en-US" sz="1682">
                <a:solidFill>
                  <a:srgbClr val="FFFFFF"/>
                </a:solidFill>
                <a:latin typeface="Segoe UI"/>
              </a:endParaRPr>
            </a:p>
          </p:txBody>
        </p:sp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BABF7C46-9F4F-4EEA-9ABF-78FEEF5DE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18431" y="6123707"/>
              <a:ext cx="240862" cy="24086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C123F593-FE9F-41B8-A233-A7CC32EFAE76}"/>
              </a:ext>
            </a:extLst>
          </p:cNvPr>
          <p:cNvGrpSpPr/>
          <p:nvPr/>
        </p:nvGrpSpPr>
        <p:grpSpPr>
          <a:xfrm>
            <a:off x="9588707" y="2291234"/>
            <a:ext cx="1300297" cy="1300300"/>
            <a:chOff x="8984516" y="2407700"/>
            <a:chExt cx="1618962" cy="1618966"/>
          </a:xfrm>
          <a:solidFill>
            <a:srgbClr val="FFC000"/>
          </a:solidFill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8DBFABA9-DF86-40A9-B05E-EF066486D31F}"/>
                </a:ext>
              </a:extLst>
            </p:cNvPr>
            <p:cNvSpPr/>
            <p:nvPr/>
          </p:nvSpPr>
          <p:spPr bwMode="auto">
            <a:xfrm>
              <a:off x="9165317" y="2587084"/>
              <a:ext cx="1257364" cy="1260198"/>
            </a:xfrm>
            <a:prstGeom prst="ellipse">
              <a:avLst/>
            </a:prstGeom>
            <a:grp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344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6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LUIS</a:t>
              </a:r>
            </a:p>
          </p:txBody>
        </p:sp>
        <p:sp>
          <p:nvSpPr>
            <p:cNvPr id="83" name="Circle: Hollow 82">
              <a:extLst>
                <a:ext uri="{FF2B5EF4-FFF2-40B4-BE49-F238E27FC236}">
                  <a16:creationId xmlns:a16="http://schemas.microsoft.com/office/drawing/2014/main" id="{C636BEC5-FB24-4F8E-8030-3DB686419A66}"/>
                </a:ext>
              </a:extLst>
            </p:cNvPr>
            <p:cNvSpPr/>
            <p:nvPr/>
          </p:nvSpPr>
          <p:spPr bwMode="auto">
            <a:xfrm>
              <a:off x="8984516" y="2407700"/>
              <a:ext cx="1618962" cy="1618966"/>
            </a:xfrm>
            <a:prstGeom prst="donut">
              <a:avLst>
                <a:gd name="adj" fmla="val 1118"/>
              </a:avLst>
            </a:prstGeom>
            <a:grp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cs typeface="Segoe UI" pitchFamily="34" charset="0"/>
              </a:endParaRPr>
            </a:p>
          </p:txBody>
        </p:sp>
      </p:grp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7048D54B-B8A4-4402-A819-8CA6C9019072}"/>
              </a:ext>
            </a:extLst>
          </p:cNvPr>
          <p:cNvSpPr/>
          <p:nvPr/>
        </p:nvSpPr>
        <p:spPr bwMode="auto">
          <a:xfrm>
            <a:off x="7534716" y="3939046"/>
            <a:ext cx="2284912" cy="269542"/>
          </a:xfrm>
          <a:custGeom>
            <a:avLst/>
            <a:gdLst>
              <a:gd name="connsiteX0" fmla="*/ 0 w 1867301"/>
              <a:gd name="connsiteY0" fmla="*/ 0 h 567891"/>
              <a:gd name="connsiteX1" fmla="*/ 1299410 w 1867301"/>
              <a:gd name="connsiteY1" fmla="*/ 0 h 567891"/>
              <a:gd name="connsiteX2" fmla="*/ 1867301 w 1867301"/>
              <a:gd name="connsiteY2" fmla="*/ 567891 h 567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67301" h="567891">
                <a:moveTo>
                  <a:pt x="0" y="0"/>
                </a:moveTo>
                <a:lnTo>
                  <a:pt x="1299410" y="0"/>
                </a:lnTo>
                <a:lnTo>
                  <a:pt x="1867301" y="567891"/>
                </a:lnTo>
              </a:path>
            </a:pathLst>
          </a:custGeom>
          <a:noFill/>
          <a:ln w="381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defRPr/>
            </a:pPr>
            <a:endParaRPr lang="en-US" sz="1682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2F339BF5-55FF-44C0-9440-2E8B289B2A8C}"/>
              </a:ext>
            </a:extLst>
          </p:cNvPr>
          <p:cNvSpPr/>
          <p:nvPr/>
        </p:nvSpPr>
        <p:spPr bwMode="auto">
          <a:xfrm flipH="1" flipV="1">
            <a:off x="7210269" y="4197273"/>
            <a:ext cx="958762" cy="593191"/>
          </a:xfrm>
          <a:custGeom>
            <a:avLst/>
            <a:gdLst>
              <a:gd name="connsiteX0" fmla="*/ 0 w 1867301"/>
              <a:gd name="connsiteY0" fmla="*/ 0 h 567891"/>
              <a:gd name="connsiteX1" fmla="*/ 1299410 w 1867301"/>
              <a:gd name="connsiteY1" fmla="*/ 0 h 567891"/>
              <a:gd name="connsiteX2" fmla="*/ 1867301 w 1867301"/>
              <a:gd name="connsiteY2" fmla="*/ 567891 h 567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67301" h="567891">
                <a:moveTo>
                  <a:pt x="0" y="0"/>
                </a:moveTo>
                <a:lnTo>
                  <a:pt x="1299410" y="0"/>
                </a:lnTo>
                <a:lnTo>
                  <a:pt x="1867301" y="567891"/>
                </a:lnTo>
              </a:path>
            </a:pathLst>
          </a:custGeom>
          <a:noFill/>
          <a:ln w="381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defRPr/>
            </a:pPr>
            <a:endParaRPr lang="en-US" sz="1682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78D16F4-B8A6-488F-9F3E-213EDD8D03CE}"/>
              </a:ext>
            </a:extLst>
          </p:cNvPr>
          <p:cNvSpPr/>
          <p:nvPr/>
        </p:nvSpPr>
        <p:spPr bwMode="auto">
          <a:xfrm flipV="1">
            <a:off x="5882178" y="2139156"/>
            <a:ext cx="2286853" cy="429846"/>
          </a:xfrm>
          <a:custGeom>
            <a:avLst/>
            <a:gdLst>
              <a:gd name="connsiteX0" fmla="*/ 0 w 1867301"/>
              <a:gd name="connsiteY0" fmla="*/ 0 h 567891"/>
              <a:gd name="connsiteX1" fmla="*/ 1299410 w 1867301"/>
              <a:gd name="connsiteY1" fmla="*/ 0 h 567891"/>
              <a:gd name="connsiteX2" fmla="*/ 1867301 w 1867301"/>
              <a:gd name="connsiteY2" fmla="*/ 567891 h 567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67301" h="567891">
                <a:moveTo>
                  <a:pt x="0" y="0"/>
                </a:moveTo>
                <a:lnTo>
                  <a:pt x="1299410" y="0"/>
                </a:lnTo>
                <a:lnTo>
                  <a:pt x="1867301" y="567891"/>
                </a:lnTo>
              </a:path>
            </a:pathLst>
          </a:custGeom>
          <a:noFill/>
          <a:ln w="38100">
            <a:solidFill>
              <a:schemeClr val="accent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defRPr/>
            </a:pPr>
            <a:endParaRPr lang="en-US" sz="1682">
              <a:solidFill>
                <a:srgbClr val="FFFFFF"/>
              </a:solidFill>
              <a:latin typeface="Segoe UI"/>
            </a:endParaRPr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6C37C5F8-83B9-431B-892C-26E82E7DE4E4}"/>
              </a:ext>
            </a:extLst>
          </p:cNvPr>
          <p:cNvGrpSpPr/>
          <p:nvPr/>
        </p:nvGrpSpPr>
        <p:grpSpPr>
          <a:xfrm>
            <a:off x="7911505" y="1281836"/>
            <a:ext cx="2345419" cy="1300300"/>
            <a:chOff x="8984518" y="2407700"/>
            <a:chExt cx="2920214" cy="1618966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FD0C7EE5-D858-4DC6-8B45-E7ADB3070923}"/>
                </a:ext>
              </a:extLst>
            </p:cNvPr>
            <p:cNvSpPr/>
            <p:nvPr/>
          </p:nvSpPr>
          <p:spPr bwMode="auto">
            <a:xfrm>
              <a:off x="9165317" y="2587084"/>
              <a:ext cx="1257364" cy="1260198"/>
            </a:xfrm>
            <a:prstGeom prst="ellipse">
              <a:avLst/>
            </a:prstGeom>
            <a:solidFill>
              <a:schemeClr val="accent4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344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6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AI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D13E5993-020B-4F41-BC0C-DD6FCF7836BC}"/>
                </a:ext>
              </a:extLst>
            </p:cNvPr>
            <p:cNvSpPr/>
            <p:nvPr/>
          </p:nvSpPr>
          <p:spPr>
            <a:xfrm>
              <a:off x="10626428" y="2477764"/>
              <a:ext cx="1278304" cy="7157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5">
                <a:defRPr/>
              </a:pPr>
              <a:r>
                <a:rPr lang="en-US" sz="1568"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latin typeface="Segoe UI"/>
                </a:rPr>
                <a:t>Cognitive</a:t>
              </a:r>
            </a:p>
            <a:p>
              <a:pPr defTabSz="914355">
                <a:defRPr/>
              </a:pPr>
              <a:r>
                <a:rPr lang="en-US" sz="1568">
                  <a:gradFill>
                    <a:gsLst>
                      <a:gs pos="1250">
                        <a:srgbClr val="1A1A1A"/>
                      </a:gs>
                      <a:gs pos="100000">
                        <a:srgbClr val="1A1A1A"/>
                      </a:gs>
                    </a:gsLst>
                    <a:lin ang="5400000" scaled="0"/>
                  </a:gradFill>
                  <a:latin typeface="Segoe UI"/>
                </a:rPr>
                <a:t> Services</a:t>
              </a:r>
            </a:p>
          </p:txBody>
        </p:sp>
        <p:sp>
          <p:nvSpPr>
            <p:cNvPr id="162" name="Circle: Hollow 161">
              <a:extLst>
                <a:ext uri="{FF2B5EF4-FFF2-40B4-BE49-F238E27FC236}">
                  <a16:creationId xmlns:a16="http://schemas.microsoft.com/office/drawing/2014/main" id="{4A8CB501-7BBC-449C-B98E-EB987A0C23F1}"/>
                </a:ext>
              </a:extLst>
            </p:cNvPr>
            <p:cNvSpPr/>
            <p:nvPr/>
          </p:nvSpPr>
          <p:spPr bwMode="auto">
            <a:xfrm>
              <a:off x="8984518" y="2407700"/>
              <a:ext cx="1618962" cy="1618966"/>
            </a:xfrm>
            <a:prstGeom prst="donut">
              <a:avLst>
                <a:gd name="adj" fmla="val 1118"/>
              </a:avLst>
            </a:prstGeom>
            <a:solidFill>
              <a:schemeClr val="accent5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cs typeface="Segoe UI" pitchFamily="34" charset="0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79A2A095-6559-4DB9-A04B-419A826C5AE5}"/>
              </a:ext>
            </a:extLst>
          </p:cNvPr>
          <p:cNvGrpSpPr/>
          <p:nvPr/>
        </p:nvGrpSpPr>
        <p:grpSpPr>
          <a:xfrm>
            <a:off x="7911506" y="4110773"/>
            <a:ext cx="1300297" cy="1300300"/>
            <a:chOff x="8984516" y="2407700"/>
            <a:chExt cx="1618962" cy="1618966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985741CE-12DA-44D0-8D45-FB6CB5DDBEDD}"/>
                </a:ext>
              </a:extLst>
            </p:cNvPr>
            <p:cNvSpPr/>
            <p:nvPr/>
          </p:nvSpPr>
          <p:spPr bwMode="auto">
            <a:xfrm>
              <a:off x="9165317" y="2587084"/>
              <a:ext cx="1257364" cy="1260198"/>
            </a:xfrm>
            <a:prstGeom prst="ellipse">
              <a:avLst/>
            </a:prstGeom>
            <a:grp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344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6" err="1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QnA</a:t>
              </a:r>
              <a:r>
                <a:rPr lang="en-US" sz="1606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 </a:t>
              </a:r>
            </a:p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6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Maker</a:t>
              </a:r>
            </a:p>
          </p:txBody>
        </p:sp>
        <p:sp>
          <p:nvSpPr>
            <p:cNvPr id="89" name="Circle: Hollow 88">
              <a:extLst>
                <a:ext uri="{FF2B5EF4-FFF2-40B4-BE49-F238E27FC236}">
                  <a16:creationId xmlns:a16="http://schemas.microsoft.com/office/drawing/2014/main" id="{DBEAB838-ED10-4222-91D9-BEBAA02ED43B}"/>
                </a:ext>
              </a:extLst>
            </p:cNvPr>
            <p:cNvSpPr/>
            <p:nvPr/>
          </p:nvSpPr>
          <p:spPr bwMode="auto">
            <a:xfrm>
              <a:off x="8984516" y="2407700"/>
              <a:ext cx="1618962" cy="1618966"/>
            </a:xfrm>
            <a:prstGeom prst="donut">
              <a:avLst>
                <a:gd name="adj" fmla="val 1118"/>
              </a:avLst>
            </a:prstGeom>
            <a:grp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cs typeface="Segoe UI" pitchFamily="34" charset="0"/>
              </a:endParaRP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C0201BC2-800E-4354-8058-93BC8E79784E}"/>
              </a:ext>
            </a:extLst>
          </p:cNvPr>
          <p:cNvGrpSpPr/>
          <p:nvPr/>
        </p:nvGrpSpPr>
        <p:grpSpPr>
          <a:xfrm>
            <a:off x="6485683" y="3069287"/>
            <a:ext cx="1300297" cy="1300300"/>
            <a:chOff x="1941810" y="1585976"/>
            <a:chExt cx="1618963" cy="161896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1FD791E4-D600-4D43-ACBE-A0E3DA6B1367}"/>
                </a:ext>
              </a:extLst>
            </p:cNvPr>
            <p:cNvSpPr/>
            <p:nvPr/>
          </p:nvSpPr>
          <p:spPr bwMode="auto">
            <a:xfrm>
              <a:off x="2122609" y="1765359"/>
              <a:ext cx="1257364" cy="1260198"/>
            </a:xfrm>
            <a:prstGeom prst="ellipse">
              <a:avLst/>
            </a:prstGeom>
            <a:solidFill>
              <a:srgbClr val="107C10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344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6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ispatch</a:t>
              </a:r>
            </a:p>
          </p:txBody>
        </p:sp>
        <p:sp>
          <p:nvSpPr>
            <p:cNvPr id="161" name="Circle: Hollow 160">
              <a:extLst>
                <a:ext uri="{FF2B5EF4-FFF2-40B4-BE49-F238E27FC236}">
                  <a16:creationId xmlns:a16="http://schemas.microsoft.com/office/drawing/2014/main" id="{C843C50A-BBFF-4F27-84B7-2E9447C03621}"/>
                </a:ext>
              </a:extLst>
            </p:cNvPr>
            <p:cNvSpPr/>
            <p:nvPr/>
          </p:nvSpPr>
          <p:spPr bwMode="auto">
            <a:xfrm>
              <a:off x="1941810" y="1585976"/>
              <a:ext cx="1618963" cy="1618966"/>
            </a:xfrm>
            <a:prstGeom prst="donut">
              <a:avLst>
                <a:gd name="adj" fmla="val 1118"/>
              </a:avLst>
            </a:prstGeom>
            <a:solidFill>
              <a:schemeClr val="accent5"/>
            </a:solidFill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cs typeface="Segoe UI" pitchFamily="34" charset="0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EFEA83C-B629-4B4D-B488-89B2A80C6943}"/>
              </a:ext>
            </a:extLst>
          </p:cNvPr>
          <p:cNvGrpSpPr/>
          <p:nvPr/>
        </p:nvGrpSpPr>
        <p:grpSpPr>
          <a:xfrm>
            <a:off x="9499999" y="3800441"/>
            <a:ext cx="1300297" cy="1300300"/>
            <a:chOff x="8984516" y="2407700"/>
            <a:chExt cx="1618962" cy="1618966"/>
          </a:xfrm>
          <a:solidFill>
            <a:schemeClr val="accent5"/>
          </a:solidFill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DE846773-88E6-416A-B02F-56319D94CD33}"/>
                </a:ext>
              </a:extLst>
            </p:cNvPr>
            <p:cNvSpPr/>
            <p:nvPr/>
          </p:nvSpPr>
          <p:spPr bwMode="auto">
            <a:xfrm>
              <a:off x="9165317" y="2587084"/>
              <a:ext cx="1257364" cy="1260198"/>
            </a:xfrm>
            <a:prstGeom prst="ellipse">
              <a:avLst/>
            </a:prstGeom>
            <a:grpFill/>
            <a:ln w="3175">
              <a:solidFill>
                <a:schemeClr val="accent5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344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6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Bing</a:t>
              </a:r>
            </a:p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6">
                  <a:gradFill>
                    <a:gsLst>
                      <a:gs pos="125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Search</a:t>
              </a:r>
            </a:p>
          </p:txBody>
        </p:sp>
        <p:sp>
          <p:nvSpPr>
            <p:cNvPr id="86" name="Circle: Hollow 85">
              <a:extLst>
                <a:ext uri="{FF2B5EF4-FFF2-40B4-BE49-F238E27FC236}">
                  <a16:creationId xmlns:a16="http://schemas.microsoft.com/office/drawing/2014/main" id="{7D4D1E3E-9EEA-4B60-9826-47D8060EEF55}"/>
                </a:ext>
              </a:extLst>
            </p:cNvPr>
            <p:cNvSpPr/>
            <p:nvPr/>
          </p:nvSpPr>
          <p:spPr bwMode="auto">
            <a:xfrm>
              <a:off x="8984516" y="2407700"/>
              <a:ext cx="1618962" cy="1618966"/>
            </a:xfrm>
            <a:prstGeom prst="donut">
              <a:avLst>
                <a:gd name="adj" fmla="val 1118"/>
              </a:avLst>
            </a:prstGeom>
            <a:grpFill/>
            <a:ln w="3175">
              <a:solidFill>
                <a:schemeClr val="accent5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89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27">
                <a:solidFill>
                  <a:srgbClr val="1A1A1A"/>
                </a:solidFill>
                <a:latin typeface="Segoe UI"/>
                <a:cs typeface="Segoe UI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D3AE9F7-1077-431A-A3A5-298385F62534}"/>
              </a:ext>
            </a:extLst>
          </p:cNvPr>
          <p:cNvGrpSpPr/>
          <p:nvPr/>
        </p:nvGrpSpPr>
        <p:grpSpPr>
          <a:xfrm>
            <a:off x="7534716" y="5927692"/>
            <a:ext cx="334288" cy="334288"/>
            <a:chOff x="7534737" y="5927730"/>
            <a:chExt cx="334293" cy="334293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67B189EB-9115-4C07-B848-DD3F6083B747}"/>
                </a:ext>
              </a:extLst>
            </p:cNvPr>
            <p:cNvSpPr/>
            <p:nvPr/>
          </p:nvSpPr>
          <p:spPr bwMode="auto">
            <a:xfrm>
              <a:off x="7534737" y="5927730"/>
              <a:ext cx="334293" cy="334293"/>
            </a:xfrm>
            <a:prstGeom prst="ellipse">
              <a:avLst/>
            </a:prstGeom>
            <a:solidFill>
              <a:schemeClr val="accent6"/>
            </a:solidFill>
            <a:ln w="9525" cap="flat">
              <a:noFill/>
              <a:prstDash val="sysDash"/>
              <a:miter lim="800000"/>
              <a:headEnd type="none" w="lg" len="med"/>
              <a:tailEnd type="none" w="lg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441" tIns="36722" rIns="73441" bIns="367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9131">
                <a:defRPr/>
              </a:pPr>
              <a:endParaRPr lang="en-US" sz="1682">
                <a:solidFill>
                  <a:srgbClr val="FFFFFF"/>
                </a:solidFill>
                <a:latin typeface="Segoe UI"/>
              </a:endParaRPr>
            </a:p>
          </p:txBody>
        </p:sp>
        <p:pic>
          <p:nvPicPr>
            <p:cNvPr id="77830" name="Picture 6" descr="Image result for microsoft teams logo transparent">
              <a:extLst>
                <a:ext uri="{FF2B5EF4-FFF2-40B4-BE49-F238E27FC236}">
                  <a16:creationId xmlns:a16="http://schemas.microsoft.com/office/drawing/2014/main" id="{529F575F-54E5-4AFB-A181-FB0349C160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020" r="8964"/>
            <a:stretch/>
          </p:blipFill>
          <p:spPr bwMode="auto">
            <a:xfrm>
              <a:off x="7600552" y="6002026"/>
              <a:ext cx="225806" cy="2169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1325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382084" y="457200"/>
            <a:ext cx="11352716" cy="712379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rgbClr val="EB8232"/>
                </a:solidFill>
              </a:rPr>
              <a:t>Create a Conversation with Bot Servic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C4E8F2F-389D-4F1B-BD7A-95E95F014F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2083" y="1042793"/>
            <a:ext cx="11018520" cy="436786"/>
          </a:xfrm>
        </p:spPr>
        <p:txBody>
          <a:bodyPr/>
          <a:lstStyle/>
          <a:p>
            <a:r>
              <a:rPr lang="en-US" sz="2800"/>
              <a:t>Comprehensive framework for the lifecycle of your projec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99415C1-0978-409B-B226-A340BDAB9525}"/>
              </a:ext>
            </a:extLst>
          </p:cNvPr>
          <p:cNvSpPr/>
          <p:nvPr/>
        </p:nvSpPr>
        <p:spPr bwMode="auto">
          <a:xfrm>
            <a:off x="95" y="1828820"/>
            <a:ext cx="12191813" cy="5029123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78" tIns="146302" rIns="182878" bIns="1463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6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0E71AA9-C382-416F-9A5A-54F663DD6FAE}"/>
              </a:ext>
            </a:extLst>
          </p:cNvPr>
          <p:cNvSpPr/>
          <p:nvPr/>
        </p:nvSpPr>
        <p:spPr bwMode="auto">
          <a:xfrm>
            <a:off x="584284" y="4358627"/>
            <a:ext cx="1735965" cy="230120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Author Dialogs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n-US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Design Cards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n-US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Visualize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5D8E7A47-BB29-4410-94AA-E6407118FBD7}"/>
              </a:ext>
            </a:extLst>
          </p:cNvPr>
          <p:cNvSpPr/>
          <p:nvPr/>
        </p:nvSpPr>
        <p:spPr bwMode="auto">
          <a:xfrm>
            <a:off x="2445263" y="4358627"/>
            <a:ext cx="1735965" cy="230120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1A1A1A"/>
                </a:solidFill>
                <a:latin typeface="Segoe UI"/>
                <a:cs typeface="Segoe UI" pitchFamily="34" charset="0"/>
              </a:rPr>
              <a:t>Bot Framework SDK</a:t>
            </a:r>
          </a:p>
          <a:p>
            <a:pPr algn="ctr" defTabSz="932461" fontAlgn="base">
              <a:spcAft>
                <a:spcPct val="0"/>
              </a:spcAft>
              <a:defRPr/>
            </a:pPr>
            <a:endParaRPr lang="en-US" sz="1600">
              <a:solidFill>
                <a:srgbClr val="1A1A1A"/>
              </a:solidFill>
              <a:latin typeface="Segoe UI"/>
              <a:cs typeface="Segoe UI" pitchFamily="34" charset="0"/>
            </a:endParaRPr>
          </a:p>
          <a:p>
            <a:pPr algn="ctr" defTabSz="932461" fontAlgn="base">
              <a:spcAft>
                <a:spcPct val="0"/>
              </a:spcAft>
              <a:defRPr/>
            </a:pPr>
            <a:r>
              <a:rPr lang="en-US" sz="1600">
                <a:solidFill>
                  <a:srgbClr val="1A1A1A"/>
                </a:solidFill>
                <a:latin typeface="Segoe UI"/>
                <a:cs typeface="Segoe UI" pitchFamily="34" charset="0"/>
              </a:rPr>
              <a:t>Cognitive Services</a:t>
            </a:r>
          </a:p>
          <a:p>
            <a:pPr algn="ctr" defTabSz="932461" fontAlgn="base">
              <a:spcAft>
                <a:spcPct val="0"/>
              </a:spcAft>
              <a:defRPr/>
            </a:pPr>
            <a:endParaRPr lang="en-US" sz="1600">
              <a:solidFill>
                <a:srgbClr val="1A1A1A"/>
              </a:solidFill>
              <a:latin typeface="Segoe UI"/>
              <a:cs typeface="Segoe UI" pitchFamily="34" charset="0"/>
            </a:endParaRPr>
          </a:p>
          <a:p>
            <a:pPr algn="ctr" defTabSz="932461" fontAlgn="base">
              <a:spcAft>
                <a:spcPct val="0"/>
              </a:spcAft>
              <a:defRPr/>
            </a:pPr>
            <a:r>
              <a:rPr lang="en-US" sz="1600">
                <a:solidFill>
                  <a:srgbClr val="1A1A1A"/>
                </a:solidFill>
                <a:latin typeface="Segoe UI"/>
                <a:cs typeface="Segoe UI" pitchFamily="34" charset="0"/>
              </a:rPr>
              <a:t>Getting Started Templates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043C0522-9058-4521-96D1-9643FB8EB920}"/>
              </a:ext>
            </a:extLst>
          </p:cNvPr>
          <p:cNvSpPr/>
          <p:nvPr/>
        </p:nvSpPr>
        <p:spPr bwMode="auto">
          <a:xfrm>
            <a:off x="4306241" y="4358627"/>
            <a:ext cx="1735965" cy="230120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GB" sz="1600">
                <a:solidFill>
                  <a:srgbClr val="1A1A1A"/>
                </a:solidFill>
                <a:latin typeface="Segoe UI"/>
                <a:cs typeface="Segoe UI" pitchFamily="34" charset="0"/>
              </a:rPr>
              <a:t>Emulator​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n-GB" sz="1600">
              <a:solidFill>
                <a:srgbClr val="1A1A1A"/>
              </a:solidFill>
              <a:latin typeface="Segoe UI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GB" sz="1600">
                <a:solidFill>
                  <a:srgbClr val="1A1A1A"/>
                </a:solidFill>
                <a:latin typeface="Segoe UI"/>
                <a:cs typeface="Segoe UI" pitchFamily="34" charset="0"/>
              </a:rPr>
              <a:t>Application Insights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n-GB" sz="1600">
              <a:solidFill>
                <a:srgbClr val="1A1A1A"/>
              </a:solidFill>
              <a:latin typeface="Segoe UI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n-GB" sz="1600">
              <a:solidFill>
                <a:srgbClr val="1A1A1A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1B1E73D-7E08-4FAB-8CB4-B4B608CD111B}"/>
              </a:ext>
            </a:extLst>
          </p:cNvPr>
          <p:cNvSpPr/>
          <p:nvPr/>
        </p:nvSpPr>
        <p:spPr bwMode="auto">
          <a:xfrm>
            <a:off x="6167220" y="4358627"/>
            <a:ext cx="1735965" cy="230120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s-ES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DevOps Tools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s-ES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s-ES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Azure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s-ES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s-ES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BYO Web Host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s-ES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5A173A0-A1F7-40E5-84A3-60458970A1B3}"/>
              </a:ext>
            </a:extLst>
          </p:cNvPr>
          <p:cNvSpPr/>
          <p:nvPr/>
        </p:nvSpPr>
        <p:spPr bwMode="auto">
          <a:xfrm>
            <a:off x="8028198" y="4358627"/>
            <a:ext cx="1735965" cy="230120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GB" sz="1600" err="1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WebChat</a:t>
            </a:r>
            <a:endParaRPr lang="en-GB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GB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Cortana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GB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Skype, FB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GB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+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GB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Custom (</a:t>
            </a:r>
            <a:r>
              <a:rPr lang="en-GB" sz="1600" err="1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DirectLine</a:t>
            </a:r>
            <a:r>
              <a:rPr lang="en-GB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)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58C08FF4-27F8-4AF2-AFE4-9C6D5F16FD29}"/>
              </a:ext>
            </a:extLst>
          </p:cNvPr>
          <p:cNvSpPr/>
          <p:nvPr/>
        </p:nvSpPr>
        <p:spPr bwMode="auto">
          <a:xfrm>
            <a:off x="9889180" y="4358627"/>
            <a:ext cx="1735965" cy="230120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Application Insights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n-US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LUIS Suggestions</a:t>
            </a: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n-US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n-US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  <a:p>
            <a:pPr algn="ctr" defTabSz="932461" fontAlgn="base">
              <a:spcBef>
                <a:spcPts val="600"/>
              </a:spcBef>
              <a:spcAft>
                <a:spcPct val="0"/>
              </a:spcAft>
              <a:defRPr/>
            </a:pPr>
            <a:endParaRPr lang="en-US" sz="1600">
              <a:solidFill>
                <a:srgbClr val="1A1A1A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A989F49-EDB2-A84F-94B3-B8794688C90D}"/>
              </a:ext>
            </a:extLst>
          </p:cNvPr>
          <p:cNvGrpSpPr/>
          <p:nvPr/>
        </p:nvGrpSpPr>
        <p:grpSpPr>
          <a:xfrm>
            <a:off x="2382756" y="4358627"/>
            <a:ext cx="7443914" cy="1999267"/>
            <a:chOff x="2382698" y="4358640"/>
            <a:chExt cx="7444028" cy="2301240"/>
          </a:xfrm>
        </p:grpSpPr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3748FF5F-B4ED-4768-AE70-01AB9A2D8275}"/>
                </a:ext>
              </a:extLst>
            </p:cNvPr>
            <p:cNvCxnSpPr>
              <a:cxnSpLocks/>
            </p:cNvCxnSpPr>
            <p:nvPr/>
          </p:nvCxnSpPr>
          <p:spPr>
            <a:xfrm>
              <a:off x="2382698" y="4358640"/>
              <a:ext cx="0" cy="23012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5744B702-5222-4457-AFB2-09B3A52C5923}"/>
                </a:ext>
              </a:extLst>
            </p:cNvPr>
            <p:cNvCxnSpPr>
              <a:cxnSpLocks/>
            </p:cNvCxnSpPr>
            <p:nvPr/>
          </p:nvCxnSpPr>
          <p:spPr>
            <a:xfrm>
              <a:off x="4243705" y="4358640"/>
              <a:ext cx="0" cy="23012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62A417FF-C50F-4E0D-A169-F4392680D413}"/>
                </a:ext>
              </a:extLst>
            </p:cNvPr>
            <p:cNvCxnSpPr>
              <a:cxnSpLocks/>
            </p:cNvCxnSpPr>
            <p:nvPr/>
          </p:nvCxnSpPr>
          <p:spPr>
            <a:xfrm>
              <a:off x="6104712" y="4358640"/>
              <a:ext cx="0" cy="23012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F9E86EE5-0A91-4E36-A3E0-A1131E856461}"/>
                </a:ext>
              </a:extLst>
            </p:cNvPr>
            <p:cNvCxnSpPr>
              <a:cxnSpLocks/>
            </p:cNvCxnSpPr>
            <p:nvPr/>
          </p:nvCxnSpPr>
          <p:spPr>
            <a:xfrm>
              <a:off x="7965719" y="4358640"/>
              <a:ext cx="0" cy="23012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3707BD08-5CDD-437F-8DB5-EBACD8BC8298}"/>
                </a:ext>
              </a:extLst>
            </p:cNvPr>
            <p:cNvCxnSpPr>
              <a:cxnSpLocks/>
            </p:cNvCxnSpPr>
            <p:nvPr/>
          </p:nvCxnSpPr>
          <p:spPr>
            <a:xfrm>
              <a:off x="9826726" y="4358640"/>
              <a:ext cx="0" cy="23012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1" name="Picture 120">
            <a:extLst>
              <a:ext uri="{FF2B5EF4-FFF2-40B4-BE49-F238E27FC236}">
                <a16:creationId xmlns:a16="http://schemas.microsoft.com/office/drawing/2014/main" id="{1A5C6F10-5731-C04B-B53A-1659282B1B3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-1587"/>
          <a:stretch/>
        </p:blipFill>
        <p:spPr>
          <a:xfrm>
            <a:off x="1103388" y="2039096"/>
            <a:ext cx="10149040" cy="1872359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ADB05DF-BB8E-4D49-872D-9174E71D7C43}"/>
              </a:ext>
            </a:extLst>
          </p:cNvPr>
          <p:cNvCxnSpPr/>
          <p:nvPr/>
        </p:nvCxnSpPr>
        <p:spPr>
          <a:xfrm>
            <a:off x="785895" y="4143364"/>
            <a:ext cx="1046653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202" descr="Smart Phone">
            <a:extLst>
              <a:ext uri="{FF2B5EF4-FFF2-40B4-BE49-F238E27FC236}">
                <a16:creationId xmlns:a16="http://schemas.microsoft.com/office/drawing/2014/main" id="{8A89D2CD-F893-4E44-A969-A95D06C615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52895" y="6283624"/>
            <a:ext cx="323993" cy="323995"/>
          </a:xfrm>
          <a:prstGeom prst="rect">
            <a:avLst/>
          </a:prstGeom>
        </p:spPr>
      </p:pic>
      <p:pic>
        <p:nvPicPr>
          <p:cNvPr id="22" name="Graphic 206" descr="Laptop">
            <a:extLst>
              <a:ext uri="{FF2B5EF4-FFF2-40B4-BE49-F238E27FC236}">
                <a16:creationId xmlns:a16="http://schemas.microsoft.com/office/drawing/2014/main" id="{0F051A2A-B7C5-4DAB-BF4A-93981AA7D3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66868" y="6302445"/>
            <a:ext cx="323995" cy="323995"/>
          </a:xfrm>
          <a:prstGeom prst="rect">
            <a:avLst/>
          </a:prstGeom>
        </p:spPr>
      </p:pic>
      <p:pic>
        <p:nvPicPr>
          <p:cNvPr id="25" name="Graphic 218" descr="Car">
            <a:extLst>
              <a:ext uri="{FF2B5EF4-FFF2-40B4-BE49-F238E27FC236}">
                <a16:creationId xmlns:a16="http://schemas.microsoft.com/office/drawing/2014/main" id="{31237688-446B-4054-8D88-6DB8439CAE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93437" y="6283624"/>
            <a:ext cx="323995" cy="323995"/>
          </a:xfrm>
          <a:prstGeom prst="rect">
            <a:avLst/>
          </a:prstGeom>
        </p:spPr>
      </p:pic>
      <p:pic>
        <p:nvPicPr>
          <p:cNvPr id="26" name="Graphic 220" descr="House">
            <a:extLst>
              <a:ext uri="{FF2B5EF4-FFF2-40B4-BE49-F238E27FC236}">
                <a16:creationId xmlns:a16="http://schemas.microsoft.com/office/drawing/2014/main" id="{BEA636DB-6B5A-4A76-A61D-5F506EF4F6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79462" y="6257658"/>
            <a:ext cx="323995" cy="3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14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D6759-1312-4224-BBB0-FA5032925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242" y="136386"/>
            <a:ext cx="11429516" cy="761968"/>
          </a:xfrm>
        </p:spPr>
        <p:txBody>
          <a:bodyPr/>
          <a:lstStyle/>
          <a:p>
            <a:r>
              <a:rPr lang="en-US"/>
              <a:t>Intro on how the bot framework works</a:t>
            </a:r>
          </a:p>
        </p:txBody>
      </p:sp>
      <p:pic>
        <p:nvPicPr>
          <p:cNvPr id="5" name="Content Placeholder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838B50DF-E75F-4943-B4CC-6E417A2C15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75945" y="2039806"/>
            <a:ext cx="6299593" cy="3543522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DD4E144-C1F1-42FC-8E77-23DE766E753C}"/>
              </a:ext>
            </a:extLst>
          </p:cNvPr>
          <p:cNvSpPr txBox="1"/>
          <p:nvPr/>
        </p:nvSpPr>
        <p:spPr>
          <a:xfrm>
            <a:off x="235870" y="1398935"/>
            <a:ext cx="29144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spc="-100">
                <a:solidFill>
                  <a:schemeClr val="bg1"/>
                </a:solidFill>
                <a:latin typeface="+mj-lt"/>
                <a:cs typeface="Segoe UI Semibold" charset="0"/>
              </a:rPr>
              <a:t>Basic conversation flow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195D5E-5435-4848-A407-56B5978F7750}"/>
              </a:ext>
            </a:extLst>
          </p:cNvPr>
          <p:cNvSpPr txBox="1"/>
          <p:nvPr/>
        </p:nvSpPr>
        <p:spPr>
          <a:xfrm>
            <a:off x="6701021" y="2039806"/>
            <a:ext cx="4911367" cy="2730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02409" indent="-302409">
              <a:buFont typeface="Arial" panose="020B0604020202020204" pitchFamily="34" charset="0"/>
              <a:buChar char="•"/>
            </a:pPr>
            <a:r>
              <a:rPr lang="en-US" sz="1905">
                <a:solidFill>
                  <a:srgbClr val="FF6A00"/>
                </a:solidFill>
              </a:rPr>
              <a:t>Every interaction creates an activity</a:t>
            </a:r>
          </a:p>
          <a:p>
            <a:pPr marL="302409" indent="-302409">
              <a:buFont typeface="Arial" panose="020B0604020202020204" pitchFamily="34" charset="0"/>
              <a:buChar char="•"/>
            </a:pPr>
            <a:r>
              <a:rPr lang="en-US" sz="1905">
                <a:solidFill>
                  <a:srgbClr val="FF6A00"/>
                </a:solidFill>
              </a:rPr>
              <a:t>Bot Framework interacts with the user via channel</a:t>
            </a:r>
          </a:p>
          <a:p>
            <a:pPr marL="302409" indent="-302409">
              <a:buFont typeface="Arial" panose="020B0604020202020204" pitchFamily="34" charset="0"/>
              <a:buChar char="•"/>
            </a:pPr>
            <a:r>
              <a:rPr lang="en-US" sz="1905" b="1" err="1">
                <a:solidFill>
                  <a:srgbClr val="FF6A00"/>
                </a:solidFill>
              </a:rPr>
              <a:t>ConversationalUpdate</a:t>
            </a:r>
            <a:r>
              <a:rPr lang="en-US" sz="1905">
                <a:solidFill>
                  <a:srgbClr val="FF6A00"/>
                </a:solidFill>
              </a:rPr>
              <a:t> and </a:t>
            </a:r>
            <a:r>
              <a:rPr lang="en-US" sz="1905" b="1">
                <a:solidFill>
                  <a:srgbClr val="FF6A00"/>
                </a:solidFill>
              </a:rPr>
              <a:t>Message</a:t>
            </a:r>
          </a:p>
          <a:p>
            <a:pPr marL="302409" indent="-302409">
              <a:buFont typeface="Arial" panose="020B0604020202020204" pitchFamily="34" charset="0"/>
              <a:buChar char="•"/>
            </a:pPr>
            <a:r>
              <a:rPr lang="en-US" sz="1905">
                <a:solidFill>
                  <a:srgbClr val="FF6A00"/>
                </a:solidFill>
              </a:rPr>
              <a:t>Requests arrive to the bot via HTTP POST</a:t>
            </a:r>
          </a:p>
          <a:p>
            <a:pPr marL="786264" lvl="1" indent="-302409">
              <a:buFont typeface="Arial" panose="020B0604020202020204" pitchFamily="34" charset="0"/>
              <a:buChar char="•"/>
            </a:pPr>
            <a:r>
              <a:rPr lang="en-US" sz="1905">
                <a:solidFill>
                  <a:srgbClr val="FF6A00"/>
                </a:solidFill>
              </a:rPr>
              <a:t>Status responses are an HTTP 200</a:t>
            </a:r>
          </a:p>
          <a:p>
            <a:pPr marL="302409" indent="-302409">
              <a:buFont typeface="Arial" panose="020B0604020202020204" pitchFamily="34" charset="0"/>
              <a:buChar char="•"/>
            </a:pPr>
            <a:r>
              <a:rPr lang="en-US" sz="1905">
                <a:solidFill>
                  <a:srgbClr val="FF6A00"/>
                </a:solidFill>
              </a:rPr>
              <a:t>Conversation in managed via </a:t>
            </a:r>
            <a:r>
              <a:rPr lang="en-US" sz="1905" b="1" err="1">
                <a:solidFill>
                  <a:srgbClr val="FF6A00"/>
                </a:solidFill>
              </a:rPr>
              <a:t>TurnContext</a:t>
            </a:r>
            <a:endParaRPr lang="en-US" sz="1905" b="1">
              <a:solidFill>
                <a:srgbClr val="FF6A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83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E8897FBD-F6F7-4741-8DD2-3860B33627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13" y="1919551"/>
            <a:ext cx="6670984" cy="385737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D195D5E-5435-4848-A407-56B5978F7750}"/>
              </a:ext>
            </a:extLst>
          </p:cNvPr>
          <p:cNvSpPr txBox="1"/>
          <p:nvPr/>
        </p:nvSpPr>
        <p:spPr>
          <a:xfrm>
            <a:off x="381242" y="1336039"/>
            <a:ext cx="2874505" cy="3854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905">
                <a:solidFill>
                  <a:srgbClr val="FF6A00"/>
                </a:solidFill>
              </a:rPr>
              <a:t>Activity generated by “hi”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DC7C3A-70A6-440D-90E9-B7674C0FC2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15110" y="1531567"/>
            <a:ext cx="4976891" cy="4952790"/>
          </a:xfrm>
        </p:spPr>
        <p:txBody>
          <a:bodyPr>
            <a:normAutofit/>
          </a:bodyPr>
          <a:lstStyle/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2540">
                <a:solidFill>
                  <a:srgbClr val="FF6A00"/>
                </a:solidFill>
              </a:rPr>
              <a:t>Activity </a:t>
            </a:r>
            <a:r>
              <a:rPr lang="en-US" sz="2540" b="0">
                <a:solidFill>
                  <a:srgbClr val="FF6A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s executed via JSON</a:t>
            </a:r>
          </a:p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2540" b="0">
                <a:solidFill>
                  <a:srgbClr val="FF6A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SON is deserialized and sent to the Adapter, using the </a:t>
            </a:r>
            <a:r>
              <a:rPr lang="en-US" sz="2540" err="1">
                <a:solidFill>
                  <a:srgbClr val="FF6A00"/>
                </a:solidFill>
              </a:rPr>
              <a:t>ProcessActivity</a:t>
            </a:r>
            <a:r>
              <a:rPr lang="en-US" sz="2540">
                <a:solidFill>
                  <a:srgbClr val="FF6A00"/>
                </a:solidFill>
              </a:rPr>
              <a:t> </a:t>
            </a:r>
            <a:r>
              <a:rPr lang="en-US" sz="2540" b="0">
                <a:solidFill>
                  <a:srgbClr val="FF6A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hod</a:t>
            </a:r>
          </a:p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2540" b="0">
                <a:solidFill>
                  <a:srgbClr val="FF6A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apter creates the </a:t>
            </a:r>
            <a:r>
              <a:rPr lang="en-US" sz="2540" err="1">
                <a:solidFill>
                  <a:srgbClr val="FF6A00"/>
                </a:solidFill>
              </a:rPr>
              <a:t>TurnContext</a:t>
            </a:r>
            <a:r>
              <a:rPr lang="en-US" sz="2540">
                <a:solidFill>
                  <a:srgbClr val="FF6A00"/>
                </a:solidFill>
              </a:rPr>
              <a:t> </a:t>
            </a:r>
            <a:r>
              <a:rPr lang="en-US" sz="2540" b="0">
                <a:solidFill>
                  <a:srgbClr val="FF6A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calls the middleware</a:t>
            </a:r>
          </a:p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2540" b="0">
                <a:solidFill>
                  <a:srgbClr val="FF6A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ivities are managed by the </a:t>
            </a:r>
            <a:r>
              <a:rPr lang="en-US" sz="2540" err="1">
                <a:solidFill>
                  <a:srgbClr val="FF6A00"/>
                </a:solidFill>
              </a:rPr>
              <a:t>ActivityHandler</a:t>
            </a:r>
            <a:endParaRPr lang="en-US" sz="2540">
              <a:solidFill>
                <a:srgbClr val="FF6A00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564076-0C02-4F28-98FE-57D80D376699}"/>
              </a:ext>
            </a:extLst>
          </p:cNvPr>
          <p:cNvSpPr txBox="1">
            <a:spLocks/>
          </p:cNvSpPr>
          <p:nvPr/>
        </p:nvSpPr>
        <p:spPr>
          <a:xfrm>
            <a:off x="381242" y="136386"/>
            <a:ext cx="11429516" cy="761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576026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/>
              <a:t>Intro on how the bot framework works</a:t>
            </a:r>
          </a:p>
        </p:txBody>
      </p:sp>
    </p:spTree>
    <p:extLst>
      <p:ext uri="{BB962C8B-B14F-4D97-AF65-F5344CB8AC3E}">
        <p14:creationId xmlns:p14="http://schemas.microsoft.com/office/powerpoint/2010/main" val="2217008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77E00-3799-466F-8D67-C40776BA9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v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C2ABFF-393A-4116-AA7F-53A6A79245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81106" y="1523791"/>
            <a:ext cx="3129526" cy="4952790"/>
          </a:xfrm>
        </p:spPr>
        <p:txBody>
          <a:bodyPr>
            <a:normAutofit/>
          </a:bodyPr>
          <a:lstStyle/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1905">
                <a:solidFill>
                  <a:srgbClr val="FF6A00"/>
                </a:solidFill>
              </a:rPr>
              <a:t>Main logic resides on the </a:t>
            </a:r>
            <a:r>
              <a:rPr lang="en-US" sz="1905" err="1">
                <a:solidFill>
                  <a:srgbClr val="FF6A00"/>
                </a:solidFill>
              </a:rPr>
              <a:t>BotEcho</a:t>
            </a:r>
            <a:r>
              <a:rPr lang="en-US" sz="1905">
                <a:solidFill>
                  <a:srgbClr val="FF6A00"/>
                </a:solidFill>
              </a:rPr>
              <a:t> file</a:t>
            </a:r>
          </a:p>
          <a:p>
            <a:pPr marL="1214428" lvl="1" indent="-604818">
              <a:buFont typeface="Arial" panose="020B0604020202020204" pitchFamily="34" charset="0"/>
              <a:buChar char="•"/>
            </a:pPr>
            <a:r>
              <a:rPr lang="en-US" sz="1482">
                <a:solidFill>
                  <a:srgbClr val="FF6A00"/>
                </a:solidFill>
              </a:rPr>
              <a:t>Inherits from the </a:t>
            </a:r>
            <a:r>
              <a:rPr lang="en-US" sz="1482" err="1">
                <a:solidFill>
                  <a:srgbClr val="FF6A00"/>
                </a:solidFill>
              </a:rPr>
              <a:t>ActivityHandler</a:t>
            </a:r>
            <a:endParaRPr lang="en-US" sz="1482">
              <a:solidFill>
                <a:srgbClr val="FF6A00"/>
              </a:solidFill>
            </a:endParaRPr>
          </a:p>
          <a:p>
            <a:pPr marL="604818" indent="-604818">
              <a:buFont typeface="Arial" panose="020B0604020202020204" pitchFamily="34" charset="0"/>
              <a:buChar char="•"/>
            </a:pPr>
            <a:r>
              <a:rPr lang="en-US" sz="1905">
                <a:solidFill>
                  <a:srgbClr val="FF6A00"/>
                </a:solidFill>
              </a:rPr>
              <a:t>Methods for activities are protected, but can be overwritten</a:t>
            </a:r>
          </a:p>
          <a:p>
            <a:pPr marL="604818" indent="-604818">
              <a:buFont typeface="Arial" panose="020B0604020202020204" pitchFamily="34" charset="0"/>
              <a:buChar char="•"/>
            </a:pPr>
            <a:endParaRPr lang="en-US" sz="1905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BE9547-2F03-48F9-82CE-B7206EAF03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948" y="1315975"/>
            <a:ext cx="8238280" cy="5056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22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307a1274-3a72-453e-96e1-32d15ebf1e9c&quot;,&quot;TimeStamp&quot;:&quot;2018-04-26T13:17:13.2189223-07:00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zure Dev Titles and Headers - 2018H2">
  <a:themeElements>
    <a:clrScheme name="AI Day 19">
      <a:dk1>
        <a:srgbClr val="FFFFFF"/>
      </a:dk1>
      <a:lt1>
        <a:srgbClr val="FF6A00"/>
      </a:lt1>
      <a:dk2>
        <a:srgbClr val="F2F2F2"/>
      </a:dk2>
      <a:lt2>
        <a:srgbClr val="AEAEAE"/>
      </a:lt2>
      <a:accent1>
        <a:srgbClr val="FF6A00"/>
      </a:accent1>
      <a:accent2>
        <a:srgbClr val="E66400"/>
      </a:accent2>
      <a:accent3>
        <a:srgbClr val="7F7F7F"/>
      </a:accent3>
      <a:accent4>
        <a:srgbClr val="000000"/>
      </a:accent4>
      <a:accent5>
        <a:srgbClr val="E9E9E9"/>
      </a:accent5>
      <a:accent6>
        <a:srgbClr val="AEAEAE"/>
      </a:accent6>
      <a:hlink>
        <a:srgbClr val="FF6A00"/>
      </a:hlink>
      <a:folHlink>
        <a:srgbClr val="FF6A00"/>
      </a:folHlink>
    </a:clrScheme>
    <a:fontScheme name="AI Day 19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lIns="0" tIns="0" rIns="0" bIns="0" anchor="t" anchorCtr="0"/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585458D-29B4-46BB-AD7F-499F1F0F7F89}" vid="{CCBDB362-ACBD-46EB-887A-B1EEC379F33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0D7CADCFE5E348ACFAE3832C303840" ma:contentTypeVersion="2" ma:contentTypeDescription="Create a new document." ma:contentTypeScope="" ma:versionID="633b0979296f1ed1c69f243239c6b35f">
  <xsd:schema xmlns:xsd="http://www.w3.org/2001/XMLSchema" xmlns:xs="http://www.w3.org/2001/XMLSchema" xmlns:p="http://schemas.microsoft.com/office/2006/metadata/properties" xmlns:ns2="00e0c6ab-2e1e-446e-8cd4-dc4d1cc239d2" targetNamespace="http://schemas.microsoft.com/office/2006/metadata/properties" ma:root="true" ma:fieldsID="2fb82ef2dbc616c6e96786f58783f5ba" ns2:_="">
    <xsd:import namespace="00e0c6ab-2e1e-446e-8cd4-dc4d1cc239d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e0c6ab-2e1e-446e-8cd4-dc4d1cc239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70D356-E601-4D10-90F6-536FDCA3FCE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85C8949-12A8-4D3A-8B80-D82110DA804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17DFBD-4751-428F-B38C-3EB5F02CAA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0e0c6ab-2e1e-446e-8cd4-dc4d1cc239d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IDay19</Template>
  <TotalTime>0</TotalTime>
  <Words>991</Words>
  <Application>Microsoft Office PowerPoint</Application>
  <PresentationFormat>Widescreen</PresentationFormat>
  <Paragraphs>261</Paragraphs>
  <Slides>24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rial</vt:lpstr>
      <vt:lpstr>Arial Black</vt:lpstr>
      <vt:lpstr>Calibri</vt:lpstr>
      <vt:lpstr>Segoe Semibold</vt:lpstr>
      <vt:lpstr>Segoe UI</vt:lpstr>
      <vt:lpstr>Segoe UI Light</vt:lpstr>
      <vt:lpstr>Segoe UI Semibold</vt:lpstr>
      <vt:lpstr>Segoe UI Semilight</vt:lpstr>
      <vt:lpstr>Wingdings</vt:lpstr>
      <vt:lpstr>Azure Dev Titles and Headers - 2018H2</vt:lpstr>
      <vt:lpstr>think-cell Slide</vt:lpstr>
      <vt:lpstr>From 0 to Conversational AI with Microsoft Azure</vt:lpstr>
      <vt:lpstr>PowerPoint Presentation</vt:lpstr>
      <vt:lpstr>Conversational AI</vt:lpstr>
      <vt:lpstr>Conversational AI: Azure Bot Service + Cognitive Services</vt:lpstr>
      <vt:lpstr>Bot Framework</vt:lpstr>
      <vt:lpstr>Create a Conversation with Bot Service</vt:lpstr>
      <vt:lpstr>Intro on how the bot framework works</vt:lpstr>
      <vt:lpstr>PowerPoint Presentation</vt:lpstr>
      <vt:lpstr>Activities</vt:lpstr>
      <vt:lpstr>DEMO Create the first bot using Visual Studio</vt:lpstr>
      <vt:lpstr>Adaptive Cards</vt:lpstr>
      <vt:lpstr>QnA Maker</vt:lpstr>
      <vt:lpstr>Language Understanding (LUIS)</vt:lpstr>
      <vt:lpstr>LUIS – terminology</vt:lpstr>
      <vt:lpstr>PowerPoint Presentation</vt:lpstr>
      <vt:lpstr>DEMO QnAMaker; LUIS</vt:lpstr>
      <vt:lpstr>Adding Personality Chat</vt:lpstr>
      <vt:lpstr>Bot Personality</vt:lpstr>
      <vt:lpstr>Adding Intelligence</vt:lpstr>
      <vt:lpstr>Example of Bot Framework implementation</vt:lpstr>
      <vt:lpstr>DEMO Sarah</vt:lpstr>
      <vt:lpstr>PowerPoint Presentation</vt:lpstr>
      <vt:lpstr>GRAZIE!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 0 all'AI Conversazionale usando Microsoft Azure Minerv</dc:title>
  <dc:creator/>
  <cp:keywords/>
  <dc:description>Version 1.0a</dc:description>
  <cp:revision>1</cp:revision>
  <dcterms:created xsi:type="dcterms:W3CDTF">2019-09-06T12:42:37Z</dcterms:created>
  <dcterms:modified xsi:type="dcterms:W3CDTF">2019-12-18T11:27:54Z</dcterms:modified>
  <cp:category>Azure Develop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0D7CADCFE5E348ACFAE3832C303840</vt:lpwstr>
  </property>
  <property fmtid="{D5CDD505-2E9C-101B-9397-08002B2CF9AE}" pid="3" name="_dlc_DocIdItemGuid">
    <vt:lpwstr>5c666594-0833-4b9d-a1f0-8c3737583105</vt:lpwstr>
  </property>
  <property fmtid="{D5CDD505-2E9C-101B-9397-08002B2CF9AE}" pid="4" name="MSIP_Label_87867195-f2b8-4ac2-b0b6-6bb73cb33afc_Enabled">
    <vt:lpwstr>True</vt:lpwstr>
  </property>
  <property fmtid="{D5CDD505-2E9C-101B-9397-08002B2CF9AE}" pid="5" name="MSIP_Label_87867195-f2b8-4ac2-b0b6-6bb73cb33afc_SiteId">
    <vt:lpwstr>72f988bf-86f1-41af-91ab-2d7cd011db47</vt:lpwstr>
  </property>
  <property fmtid="{D5CDD505-2E9C-101B-9397-08002B2CF9AE}" pid="6" name="MSIP_Label_87867195-f2b8-4ac2-b0b6-6bb73cb33afc_Owner">
    <vt:lpwstr>cliffsim@microsoft.com</vt:lpwstr>
  </property>
  <property fmtid="{D5CDD505-2E9C-101B-9397-08002B2CF9AE}" pid="7" name="MSIP_Label_87867195-f2b8-4ac2-b0b6-6bb73cb33afc_SetDate">
    <vt:lpwstr>2018-03-09T21:22:51.4106408Z</vt:lpwstr>
  </property>
  <property fmtid="{D5CDD505-2E9C-101B-9397-08002B2CF9AE}" pid="8" name="MSIP_Label_87867195-f2b8-4ac2-b0b6-6bb73cb33afc_Name">
    <vt:lpwstr>Public</vt:lpwstr>
  </property>
  <property fmtid="{D5CDD505-2E9C-101B-9397-08002B2CF9AE}" pid="9" name="MSIP_Label_87867195-f2b8-4ac2-b0b6-6bb73cb33afc_Application">
    <vt:lpwstr>Microsoft Azure Information Protection</vt:lpwstr>
  </property>
  <property fmtid="{D5CDD505-2E9C-101B-9397-08002B2CF9AE}" pid="10" name="MSIP_Label_87867195-f2b8-4ac2-b0b6-6bb73cb33afc_Extended_MSFT_Method">
    <vt:lpwstr>Manual</vt:lpwstr>
  </property>
  <property fmtid="{D5CDD505-2E9C-101B-9397-08002B2CF9AE}" pid="11" name="Sensitivity">
    <vt:lpwstr>Public</vt:lpwstr>
  </property>
</Properties>
</file>